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53" r:id="rId5"/>
    <p:sldMasterId id="2147483773" r:id="rId6"/>
  </p:sldMasterIdLst>
  <p:notesMasterIdLst>
    <p:notesMasterId r:id="rId31"/>
  </p:notesMasterIdLst>
  <p:sldIdLst>
    <p:sldId id="308" r:id="rId7"/>
    <p:sldId id="301" r:id="rId8"/>
    <p:sldId id="841" r:id="rId9"/>
    <p:sldId id="850" r:id="rId10"/>
    <p:sldId id="854" r:id="rId11"/>
    <p:sldId id="855" r:id="rId12"/>
    <p:sldId id="856" r:id="rId13"/>
    <p:sldId id="857" r:id="rId14"/>
    <p:sldId id="858" r:id="rId15"/>
    <p:sldId id="859" r:id="rId16"/>
    <p:sldId id="860" r:id="rId17"/>
    <p:sldId id="321" r:id="rId18"/>
    <p:sldId id="849" r:id="rId19"/>
    <p:sldId id="315" r:id="rId20"/>
    <p:sldId id="336" r:id="rId21"/>
    <p:sldId id="339" r:id="rId22"/>
    <p:sldId id="638" r:id="rId23"/>
    <p:sldId id="848" r:id="rId24"/>
    <p:sldId id="852" r:id="rId25"/>
    <p:sldId id="639" r:id="rId26"/>
    <p:sldId id="851" r:id="rId27"/>
    <p:sldId id="853" r:id="rId28"/>
    <p:sldId id="284" r:id="rId29"/>
    <p:sldId id="310" r:id="rId30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88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pos="7310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5E4D0"/>
    <a:srgbClr val="004975"/>
    <a:srgbClr val="B8DCFE"/>
    <a:srgbClr val="FFFFFF"/>
    <a:srgbClr val="666666"/>
    <a:srgbClr val="404040"/>
    <a:srgbClr val="888888"/>
    <a:srgbClr val="F2F2F2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3E623B-47CE-447C-8618-51ED5701D6EB}" v="2" dt="2021-09-14T09:58:23.0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4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608" y="44"/>
      </p:cViewPr>
      <p:guideLst>
        <p:guide orient="horz" pos="1888"/>
        <p:guide pos="3817"/>
        <p:guide pos="7310"/>
        <p:guide orient="horz" pos="102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9AB761-8CEB-478F-A91B-E0F6FC4C387B}" type="datetimeFigureOut">
              <a:rPr lang="en-US" smtClean="0"/>
              <a:t>10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D08AE3-7EFC-4A01-B213-ADA2E1E457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253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858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216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57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823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681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6379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8237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933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44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D85FE49A-437C-3640-8C56-0B8BCAB424CD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87" r="1917" b="9705"/>
          <a:stretch/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imary: Click to Add Presentation Title in Arial Bold 34pt.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83185"/>
            <a:ext cx="4133088" cy="12400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 / Author Na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711A761-901E-B846-B74B-96C382ADCDDF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3A4607-8514-5241-BC9C-9E5080C7AF8C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C6BFCEF-CB7A-D245-9621-D646F4E6C4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722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</a:t>
            </a:r>
            <a:br>
              <a:rPr lang="en-US" dirty="0"/>
            </a:br>
            <a:r>
              <a:rPr lang="en-US" dirty="0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3707298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</a:t>
            </a:r>
            <a:br>
              <a:rPr lang="en-US" dirty="0"/>
            </a:br>
            <a:r>
              <a:rPr lang="en-US" dirty="0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1312253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514348" y="1302389"/>
            <a:ext cx="5400000" cy="499681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Add Title in Arial Bold 28pt. Title Case.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6274348" y="1331268"/>
            <a:ext cx="5400000" cy="4963206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0579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1369770"/>
            <a:ext cx="5400000" cy="2834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514348" y="1909512"/>
            <a:ext cx="5400000" cy="4389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4348" y="1369770"/>
            <a:ext cx="5400000" cy="283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2000" b="1" dirty="0" smtClean="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4"/>
          </p:nvPr>
        </p:nvSpPr>
        <p:spPr>
          <a:xfrm>
            <a:off x="6274348" y="1909512"/>
            <a:ext cx="5400000" cy="4389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1301671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194348" y="987426"/>
            <a:ext cx="6480000" cy="53117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200"/>
            </a:lvl3pPr>
            <a:lvl4pPr>
              <a:defRPr sz="1200"/>
            </a:lvl4pPr>
            <a:lvl5pPr>
              <a:defRPr sz="1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48" y="2158148"/>
            <a:ext cx="4320000" cy="41410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14348" y="655819"/>
            <a:ext cx="4320000" cy="124410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41926373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5194348" y="975499"/>
            <a:ext cx="6480000" cy="5323701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48" y="2158148"/>
            <a:ext cx="4320000" cy="415067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4320000" cy="124358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3835374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8179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35125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B2664959-46D8-054F-8588-033E387479F3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Click on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1090558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 Connection Counts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 userDrawn="1"/>
        </p:nvSpPr>
        <p:spPr>
          <a:xfrm>
            <a:off x="0" y="1012838"/>
            <a:ext cx="3476092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 userDrawn="1"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 userDrawn="1"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tx2"/>
                </a:solidFill>
              </a:rPr>
              <a:t>WHEN</a:t>
            </a:r>
            <a:br>
              <a:rPr lang="en-US" sz="7000" b="1" cap="all" dirty="0">
                <a:solidFill>
                  <a:schemeClr val="tx2"/>
                </a:solidFill>
              </a:rPr>
            </a:br>
            <a:r>
              <a:rPr lang="en-US" sz="7000" b="1" cap="all" dirty="0">
                <a:solidFill>
                  <a:schemeClr val="tx2"/>
                </a:solidFill>
              </a:rPr>
              <a:t>TECHNOLOGY</a:t>
            </a:r>
            <a:br>
              <a:rPr lang="en-US" sz="7000" b="1" cap="all" dirty="0">
                <a:solidFill>
                  <a:schemeClr val="tx2"/>
                </a:solidFill>
              </a:rPr>
            </a:br>
            <a:r>
              <a:rPr lang="en-US" sz="7000" b="1" cap="all" dirty="0">
                <a:solidFill>
                  <a:schemeClr val="tx2"/>
                </a:solidFill>
              </a:rPr>
              <a:t>CONNECTS,</a:t>
            </a:r>
            <a:br>
              <a:rPr lang="en-US" sz="7000" b="1" cap="all" dirty="0">
                <a:solidFill>
                  <a:schemeClr val="tx2"/>
                </a:solidFill>
              </a:rPr>
            </a:br>
            <a:r>
              <a:rPr lang="en-US" sz="7000" b="1" cap="all" dirty="0">
                <a:solidFill>
                  <a:schemeClr val="tx2"/>
                </a:solidFill>
              </a:rPr>
              <a:t>SO DOES HUMANITY.</a:t>
            </a:r>
            <a:endParaRPr lang="en-US" sz="7000" b="1" dirty="0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 userDrawn="1"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 dirty="0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35011858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42871169-12A8-1C42-9606-1A70317D6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68" b="5442"/>
          <a:stretch/>
        </p:blipFill>
        <p:spPr>
          <a:xfrm>
            <a:off x="4949952" y="3466618"/>
            <a:ext cx="4197096" cy="3391382"/>
          </a:xfrm>
          <a:prstGeom prst="rect">
            <a:avLst/>
          </a:prstGeom>
        </p:spPr>
      </p:pic>
      <p:pic>
        <p:nvPicPr>
          <p:cNvPr id="7" name="Picture 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D423E103-45C5-C544-AE70-25DAFC51AC4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952" y="0"/>
            <a:ext cx="7242048" cy="340156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ternate: Click to Add Presentation Title in Arial Bold 34pt.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83185"/>
            <a:ext cx="4133088" cy="12400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 / Author Na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711A761-901E-B846-B74B-96C382ADCDDF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3A4607-8514-5241-BC9C-9E5080C7AF8C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C6BFCEF-CB7A-D245-9621-D646F4E6C4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pic>
        <p:nvPicPr>
          <p:cNvPr id="5" name="Picture 4" descr="A picture containing indoor, table, kitchen, counter&#10;&#10;Description automatically generated">
            <a:extLst>
              <a:ext uri="{FF2B5EF4-FFF2-40B4-BE49-F238E27FC236}">
                <a16:creationId xmlns:a16="http://schemas.microsoft.com/office/drawing/2014/main" id="{E7F68BC9-693E-254B-8424-514AC712AC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8" b="2436"/>
          <a:stretch/>
        </p:blipFill>
        <p:spPr>
          <a:xfrm>
            <a:off x="9220200" y="3466618"/>
            <a:ext cx="2971800" cy="339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289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 Connection Counts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 userDrawn="1"/>
        </p:nvSpPr>
        <p:spPr>
          <a:xfrm>
            <a:off x="0" y="1012837"/>
            <a:ext cx="268819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 userDrawn="1"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 userDrawn="1"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tx2"/>
                </a:solidFill>
              </a:rPr>
              <a:t>ANY</a:t>
            </a:r>
            <a:br>
              <a:rPr lang="en-US" sz="7000" b="1" cap="all" dirty="0">
                <a:solidFill>
                  <a:schemeClr val="tx2"/>
                </a:solidFill>
              </a:rPr>
            </a:br>
            <a:r>
              <a:rPr lang="en-US" sz="7000" b="1" cap="all" dirty="0">
                <a:solidFill>
                  <a:schemeClr val="tx2"/>
                </a:solidFill>
              </a:rPr>
              <a:t>CONNECTION</a:t>
            </a:r>
            <a:br>
              <a:rPr lang="en-US" sz="7000" b="1" cap="all" dirty="0">
                <a:solidFill>
                  <a:schemeClr val="tx2"/>
                </a:solidFill>
              </a:rPr>
            </a:br>
            <a:r>
              <a:rPr lang="en-US" sz="7000" b="1" cap="all" dirty="0">
                <a:solidFill>
                  <a:schemeClr val="tx2"/>
                </a:solidFill>
              </a:rPr>
              <a:t>CAN CHANGE</a:t>
            </a:r>
            <a:br>
              <a:rPr lang="en-US" sz="7000" b="1" cap="all" dirty="0">
                <a:solidFill>
                  <a:schemeClr val="tx2"/>
                </a:solidFill>
              </a:rPr>
            </a:br>
            <a:r>
              <a:rPr lang="en-US" sz="7000" b="1" cap="all" dirty="0">
                <a:solidFill>
                  <a:schemeClr val="tx2"/>
                </a:solidFill>
              </a:rPr>
              <a:t>THE WORLD</a:t>
            </a:r>
            <a:endParaRPr lang="en-US" sz="7000" b="1" dirty="0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 userDrawn="1"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 dirty="0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41461883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 Connection Counts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 userDrawn="1"/>
        </p:nvSpPr>
        <p:spPr>
          <a:xfrm>
            <a:off x="0" y="1012837"/>
            <a:ext cx="5182700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 userDrawn="1"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 userDrawn="1"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tx2"/>
                </a:solidFill>
              </a:rPr>
              <a:t>CONNECT</a:t>
            </a:r>
            <a:br>
              <a:rPr lang="en-US" sz="7000" b="1" cap="all" dirty="0">
                <a:solidFill>
                  <a:schemeClr val="tx2"/>
                </a:solidFill>
              </a:rPr>
            </a:br>
            <a:r>
              <a:rPr lang="en-US" sz="7000" b="1" cap="all" dirty="0">
                <a:solidFill>
                  <a:schemeClr val="tx2"/>
                </a:solidFill>
              </a:rPr>
              <a:t>LIKE THE WORLD</a:t>
            </a:r>
            <a:br>
              <a:rPr lang="en-US" sz="7000" b="1" cap="all" dirty="0">
                <a:solidFill>
                  <a:schemeClr val="tx2"/>
                </a:solidFill>
              </a:rPr>
            </a:br>
            <a:r>
              <a:rPr lang="en-US" sz="7000" b="1" cap="all" dirty="0">
                <a:solidFill>
                  <a:schemeClr val="tx2"/>
                </a:solidFill>
              </a:rPr>
              <a:t>DEPENDS ON IT.</a:t>
            </a:r>
          </a:p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tx2"/>
                </a:solidFill>
              </a:rPr>
              <a:t>BECAUSE IT DOES.</a:t>
            </a:r>
            <a:endParaRPr lang="en-US" sz="7000" b="1" dirty="0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 userDrawn="1"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 dirty="0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1440884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799" y="1465877"/>
            <a:ext cx="11040000" cy="4608000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254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46634"/>
            <a:ext cx="2081837" cy="8192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860676"/>
            <a:ext cx="1072896" cy="8229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" y="1897508"/>
            <a:ext cx="1280160" cy="1786128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2443507" y="1885950"/>
            <a:ext cx="9282827" cy="1797686"/>
          </a:xfrm>
          <a:prstGeom prst="rect">
            <a:avLst/>
          </a:prstGeom>
          <a:solidFill>
            <a:srgbClr val="E983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69994" y="2074123"/>
            <a:ext cx="8431089" cy="1065384"/>
          </a:xfrm>
        </p:spPr>
        <p:txBody>
          <a:bodyPr vert="horz" lIns="91440" tIns="0" rIns="91440" bIns="0" rtlCol="0" anchor="b">
            <a:noAutofit/>
          </a:bodyPr>
          <a:lstStyle>
            <a:lvl1pPr>
              <a:lnSpc>
                <a:spcPct val="200000"/>
              </a:lnSpc>
              <a:defRPr lang="en-US" sz="3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70000"/>
              </a:lnSpc>
            </a:pPr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69994" y="3149548"/>
            <a:ext cx="8411945" cy="477693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52" y="1891158"/>
            <a:ext cx="694944" cy="9357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" y="577757"/>
            <a:ext cx="1280160" cy="128625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7140" y="6468340"/>
            <a:ext cx="2423499" cy="13532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799" y="6240858"/>
            <a:ext cx="144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4403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799" y="1465877"/>
            <a:ext cx="11040000" cy="4608000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5416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7" y="655820"/>
            <a:ext cx="11040000" cy="948391"/>
          </a:xfrm>
        </p:spPr>
        <p:txBody>
          <a:bodyPr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799" y="1893669"/>
            <a:ext cx="11040000" cy="4182838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056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9468"/>
            <a:ext cx="11726400" cy="55541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85798" y="1109137"/>
            <a:ext cx="9132711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685797" y="3012987"/>
            <a:ext cx="7106083" cy="44529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6454" y="6416676"/>
            <a:ext cx="6367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" y="6013229"/>
            <a:ext cx="11725799" cy="64800"/>
            <a:chOff x="0" y="6079904"/>
            <a:chExt cx="8794349" cy="64800"/>
          </a:xfrm>
        </p:grpSpPr>
        <p:sp>
          <p:nvSpPr>
            <p:cNvPr id="19" name="Rectangle 18"/>
            <p:cNvSpPr/>
            <p:nvPr/>
          </p:nvSpPr>
          <p:spPr>
            <a:xfrm>
              <a:off x="0" y="6079904"/>
              <a:ext cx="8794349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0" y="6079904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2258721" y="6502166"/>
            <a:ext cx="36182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400">
              <a:defRPr/>
            </a:pPr>
            <a:r>
              <a:rPr lang="en-US" sz="8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8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799" y="6240858"/>
            <a:ext cx="144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5608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89468"/>
            <a:ext cx="11726400" cy="55541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6454" y="6416676"/>
            <a:ext cx="6367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2258721" y="6502166"/>
            <a:ext cx="36182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400">
              <a:defRPr/>
            </a:pPr>
            <a:r>
              <a:rPr lang="en-US" sz="8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8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799" y="6240858"/>
            <a:ext cx="1440000" cy="617143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1" y="6013229"/>
            <a:ext cx="11725799" cy="64800"/>
            <a:chOff x="0" y="6079904"/>
            <a:chExt cx="8794349" cy="64800"/>
          </a:xfrm>
        </p:grpSpPr>
        <p:sp>
          <p:nvSpPr>
            <p:cNvPr id="13" name="Rectangle 12"/>
            <p:cNvSpPr/>
            <p:nvPr/>
          </p:nvSpPr>
          <p:spPr>
            <a:xfrm>
              <a:off x="0" y="6079904"/>
              <a:ext cx="8794349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0" y="6079904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85798" y="1109137"/>
            <a:ext cx="9132711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685797" y="3012987"/>
            <a:ext cx="7106083" cy="44529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957492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389468"/>
            <a:ext cx="11726400" cy="55541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6454" y="6416676"/>
            <a:ext cx="6367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2258721" y="6502166"/>
            <a:ext cx="36182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400">
              <a:defRPr/>
            </a:pPr>
            <a:r>
              <a:rPr lang="en-US" sz="8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8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799" y="6240858"/>
            <a:ext cx="1440000" cy="617143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1" y="6013229"/>
            <a:ext cx="11725799" cy="64800"/>
            <a:chOff x="0" y="6079904"/>
            <a:chExt cx="8794349" cy="64800"/>
          </a:xfrm>
        </p:grpSpPr>
        <p:sp>
          <p:nvSpPr>
            <p:cNvPr id="13" name="Rectangle 12"/>
            <p:cNvSpPr/>
            <p:nvPr/>
          </p:nvSpPr>
          <p:spPr>
            <a:xfrm>
              <a:off x="0" y="6079904"/>
              <a:ext cx="8794349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0" y="6079904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85798" y="1109137"/>
            <a:ext cx="9132711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685797" y="3012987"/>
            <a:ext cx="7106083" cy="44529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168462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389468"/>
            <a:ext cx="11726400" cy="55541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6454" y="6416676"/>
            <a:ext cx="6367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2258721" y="6502166"/>
            <a:ext cx="36182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400">
              <a:defRPr/>
            </a:pPr>
            <a:r>
              <a:rPr lang="en-US" sz="8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8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799" y="6240858"/>
            <a:ext cx="1440000" cy="617143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1" y="6013229"/>
            <a:ext cx="11725799" cy="64800"/>
            <a:chOff x="0" y="6079904"/>
            <a:chExt cx="8794349" cy="64800"/>
          </a:xfrm>
        </p:grpSpPr>
        <p:sp>
          <p:nvSpPr>
            <p:cNvPr id="13" name="Rectangle 12"/>
            <p:cNvSpPr/>
            <p:nvPr/>
          </p:nvSpPr>
          <p:spPr>
            <a:xfrm>
              <a:off x="0" y="6079904"/>
              <a:ext cx="8794349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0" y="6079904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85798" y="1109137"/>
            <a:ext cx="9132711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idx="1"/>
          </p:nvPr>
        </p:nvSpPr>
        <p:spPr>
          <a:xfrm>
            <a:off x="685797" y="3012987"/>
            <a:ext cx="7106083" cy="44529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045786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Single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 dirty="0"/>
              <a:t>Click to Add Title in Arial Bold 28pt. Title Case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4349" y="1296543"/>
            <a:ext cx="11160000" cy="4989957"/>
          </a:xfrm>
          <a:prstGeom prst="rect">
            <a:avLst/>
          </a:prstGeom>
        </p:spPr>
        <p:txBody>
          <a:bodyPr>
            <a:noAutofit/>
          </a:bodyPr>
          <a:lstStyle>
            <a:lvl2pPr marL="457200" indent="-228600">
              <a:tabLst/>
              <a:defRPr/>
            </a:lvl2pPr>
            <a:lvl3pPr marL="866775" indent="-222250">
              <a:tabLst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636090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797" y="1465877"/>
            <a:ext cx="5280000" cy="4608000"/>
          </a:xfrm>
        </p:spPr>
        <p:txBody>
          <a:bodyPr/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000"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85797" y="655820"/>
            <a:ext cx="1104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6445797" y="1465877"/>
            <a:ext cx="5280000" cy="4608000"/>
          </a:xfrm>
        </p:spPr>
        <p:txBody>
          <a:bodyPr/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000"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7219077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7" y="1465877"/>
            <a:ext cx="5280000" cy="541447"/>
          </a:xfrm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797" y="2201462"/>
            <a:ext cx="5280000" cy="3866400"/>
          </a:xfrm>
        </p:spPr>
        <p:txBody>
          <a:bodyPr/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000"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5797" y="1465877"/>
            <a:ext cx="5280000" cy="54000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1800" b="0" dirty="0" smtClean="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45797" y="2201462"/>
            <a:ext cx="5280000" cy="3872314"/>
          </a:xfrm>
        </p:spPr>
        <p:txBody>
          <a:bodyPr/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000"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5797" y="655820"/>
            <a:ext cx="1104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5335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7" y="655820"/>
            <a:ext cx="11040000" cy="59070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4122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1142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508680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798" y="2195525"/>
            <a:ext cx="3932237" cy="387870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797" y="655820"/>
            <a:ext cx="3936000" cy="145555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2152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75500"/>
            <a:ext cx="6192000" cy="5112000"/>
          </a:xfrm>
          <a:solidFill>
            <a:schemeClr val="bg2"/>
          </a:solidFill>
        </p:spPr>
        <p:txBody>
          <a:bodyPr anchor="t"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798" y="2201462"/>
            <a:ext cx="3932237" cy="38772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797" y="655820"/>
            <a:ext cx="3936000" cy="145555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9251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ec summar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0" imgH="483" progId="TCLayout.ActiveDocument.1">
                  <p:embed/>
                </p:oleObj>
              </mc:Choice>
              <mc:Fallback>
                <p:oleObj name="think-cell Folie" r:id="rId3" imgW="480" imgH="48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866120" cy="731520"/>
          </a:xfrm>
          <a:prstGeom prst="rect">
            <a:avLst/>
          </a:prstGeom>
        </p:spPr>
        <p:txBody>
          <a:bodyPr lIns="0" rIns="0"/>
          <a:lstStyle>
            <a:lvl1pPr>
              <a:defRPr sz="135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19201"/>
            <a:ext cx="10866120" cy="4957763"/>
          </a:xfrm>
          <a:prstGeom prst="rect">
            <a:avLst/>
          </a:prstGeom>
        </p:spPr>
        <p:txBody>
          <a:bodyPr/>
          <a:lstStyle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Courier New" panose="02070309020205020404" pitchFamily="49" charset="0"/>
              <a:buChar char="o"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82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60959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" y="1295401"/>
            <a:ext cx="4627996" cy="2125532"/>
          </a:xfrm>
          <a:prstGeom prst="rect">
            <a:avLst/>
          </a:prstGeom>
        </p:spPr>
      </p:pic>
      <p:sp>
        <p:nvSpPr>
          <p:cNvPr id="37" name="TextBox 36"/>
          <p:cNvSpPr txBox="1"/>
          <p:nvPr userDrawn="1"/>
        </p:nvSpPr>
        <p:spPr>
          <a:xfrm>
            <a:off x="1655090" y="6502166"/>
            <a:ext cx="275267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>
              <a:defRPr/>
            </a:pPr>
            <a:r>
              <a:rPr lang="en-US" sz="6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6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5793" y="6240860"/>
            <a:ext cx="1080000" cy="617143"/>
          </a:xfrm>
          <a:prstGeom prst="rect">
            <a:avLst/>
          </a:prstGeom>
        </p:spPr>
      </p:pic>
      <p:sp>
        <p:nvSpPr>
          <p:cNvPr id="39" name="Rectangle 38"/>
          <p:cNvSpPr/>
          <p:nvPr userDrawn="1"/>
        </p:nvSpPr>
        <p:spPr>
          <a:xfrm>
            <a:off x="3" y="457203"/>
            <a:ext cx="11664951" cy="54832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0" y="6050869"/>
            <a:ext cx="11667600" cy="64800"/>
            <a:chOff x="0" y="6050869"/>
            <a:chExt cx="11667600" cy="64800"/>
          </a:xfrm>
        </p:grpSpPr>
        <p:sp>
          <p:nvSpPr>
            <p:cNvPr id="41" name="Rectangle 40"/>
            <p:cNvSpPr/>
            <p:nvPr/>
          </p:nvSpPr>
          <p:spPr>
            <a:xfrm>
              <a:off x="0" y="6050869"/>
              <a:ext cx="11667600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1" y="6050869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514347" y="1109137"/>
            <a:ext cx="7200000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2"/>
          <p:cNvSpPr>
            <a:spLocks noGrp="1"/>
          </p:cNvSpPr>
          <p:nvPr>
            <p:ph type="body" idx="1"/>
          </p:nvPr>
        </p:nvSpPr>
        <p:spPr>
          <a:xfrm>
            <a:off x="514349" y="3026739"/>
            <a:ext cx="5325035" cy="445295"/>
          </a:xfrm>
        </p:spPr>
        <p:txBody>
          <a:bodyPr anchor="t">
            <a:noAutofit/>
          </a:bodyPr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34436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3"/>
          <p:cNvSpPr>
            <a:spLocks noGrp="1"/>
          </p:cNvSpPr>
          <p:nvPr>
            <p:ph sz="quarter" idx="10"/>
          </p:nvPr>
        </p:nvSpPr>
        <p:spPr>
          <a:xfrm>
            <a:off x="582084" y="1300166"/>
            <a:ext cx="11309349" cy="4886325"/>
          </a:xfrm>
          <a:prstGeom prst="rect">
            <a:avLst/>
          </a:prstGeom>
        </p:spPr>
        <p:txBody>
          <a:bodyPr lIns="0" tIns="0" rIns="0" bIns="0"/>
          <a:lstStyle>
            <a:lvl1pPr marL="342892" indent="-342892">
              <a:buClr>
                <a:schemeClr val="accent1"/>
              </a:buClr>
              <a:buFont typeface="Wingdings" pitchFamily="2" charset="2"/>
              <a:buChar char="n"/>
              <a:defRPr sz="1800" b="1"/>
            </a:lvl1pPr>
            <a:lvl2pPr marL="827979" indent="-323992">
              <a:buClr>
                <a:schemeClr val="accent1"/>
              </a:buClr>
              <a:buFont typeface="Arial" pitchFamily="34" charset="0"/>
              <a:buChar char="▬"/>
              <a:defRPr sz="1800" b="1"/>
            </a:lvl2pPr>
            <a:lvl3pPr marL="1142972" indent="-228594">
              <a:buFont typeface="Arial" pitchFamily="34" charset="0"/>
              <a:buChar char="‒"/>
              <a:defRPr sz="1800" b="1"/>
            </a:lvl3pPr>
            <a:lvl4pPr marL="1600160" indent="-228594">
              <a:buFont typeface="Arial" pitchFamily="34" charset="0"/>
              <a:buChar char="•"/>
              <a:defRPr sz="1800" b="1"/>
            </a:lvl4pPr>
            <a:lvl5pPr>
              <a:defRPr sz="1800" b="1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593419" y="153259"/>
            <a:ext cx="10055703" cy="35654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7C0D51-7E88-4B4B-BD36-19CFC1B9E1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7009" y="153259"/>
            <a:ext cx="11144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75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34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Two Lines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8015" y="6403974"/>
            <a:ext cx="426914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514349" y="1717964"/>
            <a:ext cx="11160000" cy="457651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18"/>
            <a:ext cx="98298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Add Title in Arial Bold 28pt, Max Two Lines,</a:t>
            </a:r>
            <a:br>
              <a:rPr lang="en-US" dirty="0"/>
            </a:br>
            <a:r>
              <a:rPr lang="en-US" dirty="0"/>
              <a:t>Title Case. </a:t>
            </a:r>
          </a:p>
        </p:txBody>
      </p:sp>
    </p:spTree>
    <p:extLst>
      <p:ext uri="{BB962C8B-B14F-4D97-AF65-F5344CB8AC3E}">
        <p14:creationId xmlns:p14="http://schemas.microsoft.com/office/powerpoint/2010/main" val="3559273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1116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16677"/>
            <a:ext cx="4269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rgbClr val="919195"/>
                </a:solidFill>
              </a:defRPr>
            </a:lvl1pPr>
          </a:lstStyle>
          <a:p>
            <a:fld id="{357F330F-79CA-4D7D-8106-3B5F5B4959C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4349" y="1465879"/>
            <a:ext cx="11160000" cy="460472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42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1" y="6416677"/>
            <a:ext cx="4775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1116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7139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62F2EA5-ACEC-4E21-B08E-DA1765FFF5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solidFill>
            <a:schemeClr val="accent3">
              <a:lumMod val="20000"/>
              <a:lumOff val="80000"/>
            </a:schemeClr>
          </a:solidFill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8639FF-AEE0-4B54-811F-7290D0A9C9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31838" y="1484312"/>
            <a:ext cx="10728324" cy="2008641"/>
          </a:xfrm>
          <a:prstGeom prst="rect">
            <a:avLst/>
          </a:prstGeom>
        </p:spPr>
        <p:txBody>
          <a:bodyPr tIns="0" bIns="72000" anchor="b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 sz="4800">
                <a:solidFill>
                  <a:schemeClr val="bg1"/>
                </a:solidFill>
              </a:defRPr>
            </a:lvl3pPr>
            <a:lvl4pPr>
              <a:defRPr sz="4800">
                <a:solidFill>
                  <a:schemeClr val="bg1"/>
                </a:solidFill>
              </a:defRPr>
            </a:lvl4pPr>
            <a:lvl5pPr>
              <a:defRPr sz="4800">
                <a:solidFill>
                  <a:schemeClr val="bg1"/>
                </a:solidFill>
              </a:defRPr>
            </a:lvl5pPr>
            <a:lvl6pPr>
              <a:defRPr sz="4800">
                <a:solidFill>
                  <a:schemeClr val="bg1"/>
                </a:solidFill>
              </a:defRPr>
            </a:lvl6pPr>
            <a:lvl7pPr>
              <a:defRPr sz="4800">
                <a:solidFill>
                  <a:schemeClr val="bg1"/>
                </a:solidFill>
              </a:defRPr>
            </a:lvl7pPr>
            <a:lvl8pPr>
              <a:defRPr sz="4800">
                <a:solidFill>
                  <a:schemeClr val="bg1"/>
                </a:solidFill>
              </a:defRPr>
            </a:lvl8pPr>
            <a:lvl9pPr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itle 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8" y="3492954"/>
            <a:ext cx="10728325" cy="660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tabLst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 b="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1" name="Media Placeholder 60">
            <a:extLst>
              <a:ext uri="{FF2B5EF4-FFF2-40B4-BE49-F238E27FC236}">
                <a16:creationId xmlns:a16="http://schemas.microsoft.com/office/drawing/2014/main" id="{4641319B-CEA6-463F-B09D-3BC40EAA59E1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 bwMode="gray">
          <a:xfrm>
            <a:off x="10632955" y="476250"/>
            <a:ext cx="826247" cy="34012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56F067-0292-4247-A4C5-88AF77577B5B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1F7D62A1-1022-45FC-8F4C-401AA1E60FB2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FC1DE10-0E0E-4D8C-BFB6-675248713A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Presentation Title, Speaker, Loc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88DBB0-5DC0-4DCC-A17E-B5CBA95E80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398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- Dark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62F2EA5-ACEC-4E21-B08E-DA1765FFF5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solidFill>
            <a:schemeClr val="accent3">
              <a:lumMod val="20000"/>
              <a:lumOff val="80000"/>
            </a:schemeClr>
          </a:solidFill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8639FF-AEE0-4B54-811F-7290D0A9C9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31838" y="1484312"/>
            <a:ext cx="10728324" cy="2008641"/>
          </a:xfrm>
          <a:prstGeom prst="rect">
            <a:avLst/>
          </a:prstGeom>
        </p:spPr>
        <p:txBody>
          <a:bodyPr tIns="0" bIns="72000" anchor="b">
            <a:noAutofit/>
          </a:bodyPr>
          <a:lstStyle>
            <a:lvl1pPr algn="l">
              <a:defRPr sz="4800">
                <a:solidFill>
                  <a:schemeClr val="bg2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 sz="4800">
                <a:solidFill>
                  <a:schemeClr val="bg1"/>
                </a:solidFill>
              </a:defRPr>
            </a:lvl3pPr>
            <a:lvl4pPr>
              <a:defRPr sz="4800">
                <a:solidFill>
                  <a:schemeClr val="bg1"/>
                </a:solidFill>
              </a:defRPr>
            </a:lvl4pPr>
            <a:lvl5pPr>
              <a:defRPr sz="4800">
                <a:solidFill>
                  <a:schemeClr val="bg1"/>
                </a:solidFill>
              </a:defRPr>
            </a:lvl5pPr>
            <a:lvl6pPr>
              <a:defRPr sz="4800">
                <a:solidFill>
                  <a:schemeClr val="bg1"/>
                </a:solidFill>
              </a:defRPr>
            </a:lvl6pPr>
            <a:lvl7pPr>
              <a:defRPr sz="4800">
                <a:solidFill>
                  <a:schemeClr val="bg1"/>
                </a:solidFill>
              </a:defRPr>
            </a:lvl7pPr>
            <a:lvl8pPr>
              <a:defRPr sz="4800">
                <a:solidFill>
                  <a:schemeClr val="bg1"/>
                </a:solidFill>
              </a:defRPr>
            </a:lvl8pPr>
            <a:lvl9pPr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itle 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8" y="3492954"/>
            <a:ext cx="10728325" cy="660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tabLst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 b="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1" name="Media Placeholder 60">
            <a:extLst>
              <a:ext uri="{FF2B5EF4-FFF2-40B4-BE49-F238E27FC236}">
                <a16:creationId xmlns:a16="http://schemas.microsoft.com/office/drawing/2014/main" id="{4641319B-CEA6-463F-B09D-3BC40EAA59E1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 bwMode="gray">
          <a:xfrm>
            <a:off x="10632955" y="476672"/>
            <a:ext cx="826247" cy="34012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4D1149F-0AC6-4C31-B391-0EA1232F5368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66E7D378-6DE5-4D5B-B62D-4EA5C8C63254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2F782BC-33F1-4F9E-BBF5-FBEBF3CC9ED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Presentation Title, Speaker, Locatio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1BA1C2F-45A0-4384-B26D-06806E4969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502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id="{A5A8F46B-B604-4C0C-943E-221717FD321A}"/>
              </a:ext>
            </a:extLst>
          </p:cNvPr>
          <p:cNvSpPr/>
          <p:nvPr userDrawn="1"/>
        </p:nvSpPr>
        <p:spPr bwMode="gray">
          <a:xfrm>
            <a:off x="10632955" y="6445250"/>
            <a:ext cx="892295" cy="412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noProof="0">
              <a:noFill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8639FF-AEE0-4B54-811F-7290D0A9C9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31838" y="4000500"/>
            <a:ext cx="10728324" cy="1117598"/>
          </a:xfrm>
          <a:prstGeom prst="rect">
            <a:avLst/>
          </a:prstGeom>
        </p:spPr>
        <p:txBody>
          <a:bodyPr tIns="0" bIns="72000" anchor="b">
            <a:normAutofit/>
          </a:bodyPr>
          <a:lstStyle>
            <a:lvl1pPr algn="l">
              <a:defRPr sz="3600"/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  <a:lvl6pPr>
              <a:defRPr sz="3600"/>
            </a:lvl6pPr>
            <a:lvl7pPr>
              <a:defRPr sz="3600"/>
            </a:lvl7pPr>
            <a:lvl8pPr>
              <a:defRPr sz="3600"/>
            </a:lvl8pPr>
            <a:lvl9pPr>
              <a:defRPr sz="3600"/>
            </a:lvl9pPr>
          </a:lstStyle>
          <a:p>
            <a:pPr lvl="0"/>
            <a:r>
              <a:rPr lang="en-US" noProof="0" dirty="0"/>
              <a:t>Chapter slide 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8" y="5118100"/>
            <a:ext cx="10728325" cy="97472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2"/>
                </a:solidFill>
              </a:defRPr>
            </a:lvl1pPr>
            <a:lvl2pPr marL="0" indent="0" algn="l">
              <a:buNone/>
              <a:defRPr sz="1400" b="0">
                <a:solidFill>
                  <a:schemeClr val="accent2"/>
                </a:solidFill>
              </a:defRPr>
            </a:lvl2pPr>
            <a:lvl3pPr marL="0" indent="0" algn="l">
              <a:buNone/>
              <a:defRPr sz="1400">
                <a:solidFill>
                  <a:schemeClr val="accent2"/>
                </a:solidFill>
              </a:defRPr>
            </a:lvl3pPr>
            <a:lvl4pPr marL="0" indent="0" algn="l">
              <a:buNone/>
              <a:tabLst/>
              <a:defRPr sz="1400">
                <a:solidFill>
                  <a:schemeClr val="accent2"/>
                </a:solidFill>
              </a:defRPr>
            </a:lvl4pPr>
            <a:lvl5pPr marL="0" indent="0" algn="l">
              <a:buNone/>
              <a:defRPr sz="1400">
                <a:solidFill>
                  <a:schemeClr val="accent2"/>
                </a:solidFill>
              </a:defRPr>
            </a:lvl5pPr>
            <a:lvl6pPr marL="0" indent="0" algn="l">
              <a:buNone/>
              <a:defRPr sz="1400">
                <a:solidFill>
                  <a:schemeClr val="accent2"/>
                </a:solidFill>
              </a:defRPr>
            </a:lvl6pPr>
            <a:lvl7pPr marL="0" indent="0" algn="l">
              <a:buNone/>
              <a:defRPr sz="1400">
                <a:solidFill>
                  <a:schemeClr val="accent2"/>
                </a:solidFill>
              </a:defRPr>
            </a:lvl7pPr>
            <a:lvl8pPr marL="0" indent="0" algn="l">
              <a:buNone/>
              <a:defRPr sz="1400" b="0">
                <a:solidFill>
                  <a:schemeClr val="accent2"/>
                </a:solidFill>
              </a:defRPr>
            </a:lvl8pPr>
            <a:lvl9pPr marL="0" indent="0" algn="l">
              <a:buNone/>
              <a:defRPr sz="1400"/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sub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62F2EA5-ACEC-4E21-B08E-DA1765FFF5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4000500"/>
          </a:xfrm>
          <a:solidFill>
            <a:schemeClr val="accent3">
              <a:lumMod val="20000"/>
              <a:lumOff val="80000"/>
            </a:schemeClr>
          </a:solidFill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61" name="Media Placeholder 60">
            <a:extLst>
              <a:ext uri="{FF2B5EF4-FFF2-40B4-BE49-F238E27FC236}">
                <a16:creationId xmlns:a16="http://schemas.microsoft.com/office/drawing/2014/main" id="{4641319B-CEA6-463F-B09D-3BC40EAA59E1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 bwMode="gray">
          <a:xfrm>
            <a:off x="10632955" y="476672"/>
            <a:ext cx="826247" cy="34012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89F5AE2-661C-4BE3-B77B-36F48352595D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99AE3937-712A-4072-A259-118EDAC19726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44CC20-2BB5-4753-B1D1-F43B2DD0263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Presentation Title, Speaker, Loc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5112344-0E44-4270-AFB9-99FA4D1447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3180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4CF56A3F-8DBD-4DB7-A870-C39393466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31837" y="476251"/>
            <a:ext cx="2627314" cy="5616574"/>
          </a:xfrm>
        </p:spPr>
        <p:txBody>
          <a:bodyPr tIns="900000">
            <a:noAutofit/>
          </a:bodyPr>
          <a:lstStyle>
            <a:lvl1pPr>
              <a:defRPr sz="3600"/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  <a:lvl6pPr>
              <a:defRPr sz="3600"/>
            </a:lvl6pPr>
            <a:lvl7pPr>
              <a:defRPr sz="3600"/>
            </a:lvl7pPr>
            <a:lvl8pPr>
              <a:defRPr sz="3600"/>
            </a:lvl8pPr>
            <a:lvl9pPr>
              <a:defRPr sz="3600"/>
            </a:lvl9pPr>
          </a:lstStyle>
          <a:p>
            <a:pPr lvl="0"/>
            <a:r>
              <a:rPr lang="en-US" noProof="0" dirty="0"/>
              <a:t>Agenda</a:t>
            </a:r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312EA755-E45C-4268-B479-98BC6F2A4060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10920102" y="6453188"/>
            <a:ext cx="540061" cy="404812"/>
          </a:xfrm>
        </p:spPr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EF9342E-20FA-4551-A034-8B556E9E2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34555" y="1484313"/>
            <a:ext cx="3525045" cy="4606131"/>
          </a:xfrm>
        </p:spPr>
        <p:txBody>
          <a:bodyPr/>
          <a:lstStyle>
            <a:lvl1pPr marL="216000" indent="-216000">
              <a:buClr>
                <a:schemeClr val="bg2"/>
              </a:buClr>
              <a:buFont typeface="+mj-lt"/>
              <a:buAutoNum type="arabicPeriod"/>
              <a:defRPr/>
            </a:lvl1pPr>
            <a:lvl2pPr marL="432000" indent="-216000">
              <a:spcBef>
                <a:spcPts val="0"/>
              </a:spcBef>
              <a:buClr>
                <a:schemeClr val="bg2"/>
              </a:buClr>
              <a:buFont typeface="+mj-lt"/>
              <a:buAutoNum type="alphaLcPeriod"/>
              <a:defRPr b="0"/>
            </a:lvl2pPr>
            <a:lvl3pPr marL="648000" indent="-216000">
              <a:spcBef>
                <a:spcPts val="0"/>
              </a:spcBef>
              <a:buFont typeface="+mj-lt"/>
              <a:buAutoNum type="romanLcPeriod"/>
              <a:defRPr/>
            </a:lvl3pPr>
            <a:lvl4pPr marL="216000" indent="-216000">
              <a:spcBef>
                <a:spcPts val="500"/>
              </a:spcBef>
              <a:buFont typeface="Open Sans" panose="020B0606030504020204" pitchFamily="34" charset="0"/>
              <a:buChar char="›"/>
              <a:defRPr/>
            </a:lvl4pPr>
            <a:lvl5pPr marL="432000" indent="-216000">
              <a:spcBef>
                <a:spcPts val="0"/>
              </a:spcBef>
              <a:buFont typeface="Open Sans" panose="020B0606030504020204" pitchFamily="34" charset="0"/>
              <a:buChar char="−"/>
              <a:defRPr/>
            </a:lvl5pPr>
            <a:lvl6pPr marL="0" indent="0">
              <a:spcBef>
                <a:spcPts val="500"/>
              </a:spcBef>
              <a:spcAft>
                <a:spcPts val="500"/>
              </a:spcAft>
              <a:buNone/>
              <a:defRPr/>
            </a:lvl6pPr>
            <a:lvl7pPr marL="0" indent="0">
              <a:spcBef>
                <a:spcPts val="500"/>
              </a:spcBef>
              <a:spcAft>
                <a:spcPts val="500"/>
              </a:spcAft>
              <a:buNone/>
              <a:defRPr b="1"/>
            </a:lvl7pPr>
            <a:lvl8pPr>
              <a:spcBef>
                <a:spcPts val="500"/>
              </a:spcBef>
              <a:spcAft>
                <a:spcPts val="500"/>
              </a:spcAft>
              <a:defRPr/>
            </a:lvl8pPr>
            <a:lvl9pPr>
              <a:spcBef>
                <a:spcPts val="500"/>
              </a:spcBef>
              <a:spcAft>
                <a:spcPts val="0"/>
              </a:spcAft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8DF18FE-4241-4659-8EBF-E38750BC021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35005" y="1484313"/>
            <a:ext cx="3525045" cy="4606131"/>
          </a:xfrm>
        </p:spPr>
        <p:txBody>
          <a:bodyPr/>
          <a:lstStyle>
            <a:lvl1pPr marL="216000" indent="-216000">
              <a:buClr>
                <a:schemeClr val="bg2"/>
              </a:buClr>
              <a:buFont typeface="+mj-lt"/>
              <a:buAutoNum type="arabicPeriod"/>
              <a:defRPr/>
            </a:lvl1pPr>
            <a:lvl2pPr marL="432000" indent="-216000">
              <a:spcBef>
                <a:spcPts val="0"/>
              </a:spcBef>
              <a:buClr>
                <a:schemeClr val="bg2"/>
              </a:buClr>
              <a:buFont typeface="+mj-lt"/>
              <a:buAutoNum type="alphaLcPeriod"/>
              <a:defRPr b="0"/>
            </a:lvl2pPr>
            <a:lvl3pPr marL="648000" indent="-216000">
              <a:spcBef>
                <a:spcPts val="0"/>
              </a:spcBef>
              <a:buFont typeface="+mj-lt"/>
              <a:buAutoNum type="romanLcPeriod"/>
              <a:defRPr/>
            </a:lvl3pPr>
            <a:lvl4pPr marL="216000" indent="-216000">
              <a:spcBef>
                <a:spcPts val="500"/>
              </a:spcBef>
              <a:buFont typeface="Open Sans" panose="020B0606030504020204" pitchFamily="34" charset="0"/>
              <a:buChar char="›"/>
              <a:defRPr/>
            </a:lvl4pPr>
            <a:lvl5pPr marL="432000" indent="-216000">
              <a:spcBef>
                <a:spcPts val="0"/>
              </a:spcBef>
              <a:buFont typeface="Open Sans" panose="020B0606030504020204" pitchFamily="34" charset="0"/>
              <a:buChar char="−"/>
              <a:defRPr/>
            </a:lvl5pPr>
            <a:lvl6pPr marL="0" indent="0">
              <a:spcBef>
                <a:spcPts val="500"/>
              </a:spcBef>
              <a:spcAft>
                <a:spcPts val="500"/>
              </a:spcAft>
              <a:buNone/>
              <a:defRPr/>
            </a:lvl6pPr>
            <a:lvl7pPr marL="0" indent="0">
              <a:spcBef>
                <a:spcPts val="500"/>
              </a:spcBef>
              <a:spcAft>
                <a:spcPts val="500"/>
              </a:spcAft>
              <a:buNone/>
              <a:defRPr b="1"/>
            </a:lvl7pPr>
            <a:lvl8pPr>
              <a:spcBef>
                <a:spcPts val="500"/>
              </a:spcBef>
              <a:spcAft>
                <a:spcPts val="500"/>
              </a:spcAft>
              <a:defRPr/>
            </a:lvl8pPr>
            <a:lvl9pPr>
              <a:spcBef>
                <a:spcPts val="500"/>
              </a:spcBef>
              <a:spcAft>
                <a:spcPts val="0"/>
              </a:spcAft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87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896C533A-22BC-450A-9894-80CD50BD34D1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8" y="1484313"/>
            <a:ext cx="10728324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9A99356-4BB3-48AA-B82C-C28512B6B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3A14DC12-481E-49CF-A952-6AFD5CEB7D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1581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60C5CD5E-89A6-44F3-8B82-118736FA2921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6" y="1484313"/>
            <a:ext cx="5327652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72114F8E-DDF9-4289-97E4-071F7B4C70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32514" y="1484313"/>
            <a:ext cx="5327652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E7F990-4EB2-439F-80F4-2B505D6903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0B330D06-980F-49AE-BA0D-BF2C00B50B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0667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470CBAC5-DBF8-4593-AA00-62DBAF18880A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6" y="1484313"/>
            <a:ext cx="4427539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79BF0785-316F-440E-98DA-5855C3479F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132514" y="1484313"/>
            <a:ext cx="5327649" cy="4608512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AE3631A-DCAD-488F-97E9-5F6E14C51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51987D89-8892-4B38-A793-72BF9D580EE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545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EFA014BB-C5BD-4055-AF3B-E32DCCB61496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6" y="1484313"/>
            <a:ext cx="4427539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79BF0785-316F-440E-98DA-5855C3479F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132514" y="1484313"/>
            <a:ext cx="2627311" cy="4608512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EE79A08A-B674-4C5C-983F-05EA7481842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8832850" y="1484313"/>
            <a:ext cx="2627311" cy="4608512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C624D5E5-2291-470D-AFC3-574AD88092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BBBC13-48DB-49A9-A5D4-63806BC240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7671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E0434DB-3B27-D540-AB97-A58DF145623D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A1A39E-D551-804F-B57E-6C5C466A80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Slide  #1: Click to Add Title in Arial Bold 28pt. Title Case.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C7C431-5C9A-5A48-A38A-31C957BB39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820DBE-C751-1D46-86EB-F9BDD8536B0F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7DD8F2F-6B66-B34E-9434-BD1260F62D22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AF696E4D-4639-6D4F-9554-69F1535083D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 area, size: 8” x 7.5”.</a:t>
            </a:r>
            <a:br>
              <a:rPr lang="en-US" dirty="0"/>
            </a:br>
            <a:r>
              <a:rPr lang="en-US" dirty="0"/>
              <a:t>  See following slide for example.</a:t>
            </a:r>
          </a:p>
        </p:txBody>
      </p:sp>
    </p:spTree>
    <p:extLst>
      <p:ext uri="{BB962C8B-B14F-4D97-AF65-F5344CB8AC3E}">
        <p14:creationId xmlns:p14="http://schemas.microsoft.com/office/powerpoint/2010/main" val="6172851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2 x Pictur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DA69DA01-1F37-4081-BD2F-192C13199E1D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6" y="1484313"/>
            <a:ext cx="4427539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79BF0785-316F-440E-98DA-5855C3479F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132514" y="1484313"/>
            <a:ext cx="5327649" cy="2268256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EE79A08A-B674-4C5C-983F-05EA7481842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6132514" y="3824569"/>
            <a:ext cx="5327649" cy="2268256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88B62267-3635-41A2-861D-D28522F392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7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3F9D21-2054-45A4-BE47-59F012FE0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1744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3B171B55-A9F0-4352-B4F6-063BC8274E8D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6" y="4287202"/>
            <a:ext cx="3531380" cy="1805623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79BF0785-316F-440E-98DA-5855C3479F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731835" y="1484313"/>
            <a:ext cx="3531380" cy="2802889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EE79A08A-B674-4C5C-983F-05EA7481842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4330309" y="1484313"/>
            <a:ext cx="3531380" cy="2802889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F9D5852-1FA1-4921-AB99-9A88541394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7928783" y="1484313"/>
            <a:ext cx="3531380" cy="2802889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399ED4F0-6D1F-484F-8822-23F5E547D4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332286" y="4287202"/>
            <a:ext cx="3531380" cy="1805623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E99A320E-EE7B-4EDC-A7AD-8EC031D1DD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932736" y="4287202"/>
            <a:ext cx="3531380" cy="1805623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9B33C8-F682-45BF-B3EC-CBA33BFA9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8298CCF3-EE6A-418B-9BED-3C8F59A516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9142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88958738-E210-4CBF-B313-79F19D651CFC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6" y="4287202"/>
            <a:ext cx="2627307" cy="1805623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79BF0785-316F-440E-98DA-5855C3479F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731835" y="1484313"/>
            <a:ext cx="2627307" cy="2802889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EE79A08A-B674-4C5C-983F-05EA7481842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432175" y="1484313"/>
            <a:ext cx="2627307" cy="2802889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F9D5852-1FA1-4921-AB99-9A88541394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132515" y="1484313"/>
            <a:ext cx="2627307" cy="2802889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C63E2164-0A68-49B5-9571-788A93701C8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8832855" y="1484313"/>
            <a:ext cx="2627307" cy="2802889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399ED4F0-6D1F-484F-8822-23F5E547D4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34812" y="4287202"/>
            <a:ext cx="2627307" cy="1805623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E99A320E-EE7B-4EDC-A7AD-8EC031D1DD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137788" y="4287202"/>
            <a:ext cx="2627307" cy="1805623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A6F218D2-1A66-41B7-B131-ADF7254209C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840764" y="4287202"/>
            <a:ext cx="2627307" cy="1805623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45E25A-0F9B-42C0-A738-7DD80E3F61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AFDE49B-E03E-4EF2-BF71-6E6768FE03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1138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E909C3CB-F559-4548-8DB2-B16CBFBE1B35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6" y="3438933"/>
            <a:ext cx="1727195" cy="2653892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79BF0785-316F-440E-98DA-5855C3479F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731839" y="1484313"/>
            <a:ext cx="1727195" cy="1954620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EE79A08A-B674-4C5C-983F-05EA7481842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2532065" y="1484313"/>
            <a:ext cx="1727195" cy="1954620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F9D5852-1FA1-4921-AB99-9A88541394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4332291" y="1484313"/>
            <a:ext cx="1727195" cy="1954620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C63E2164-0A68-49B5-9571-788A93701C8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132517" y="1484313"/>
            <a:ext cx="1727195" cy="1954620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399ED4F0-6D1F-484F-8822-23F5E547D4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533644" y="3438933"/>
            <a:ext cx="1727195" cy="2653892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E99A320E-EE7B-4EDC-A7AD-8EC031D1DD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335452" y="3438933"/>
            <a:ext cx="1727195" cy="2653892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A6F218D2-1A66-41B7-B131-ADF7254209C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37260" y="3438933"/>
            <a:ext cx="1727195" cy="2653892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DA6EFF13-645C-4423-B403-EC08F6E92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gray">
          <a:xfrm>
            <a:off x="7932743" y="1484313"/>
            <a:ext cx="1727195" cy="1954620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E5F8C122-6C54-4B37-800F-913C4B5AB9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939068" y="3438933"/>
            <a:ext cx="1727195" cy="2653892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55F41C0D-450D-47B2-B9F7-7C9A13F91E2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9732968" y="1484313"/>
            <a:ext cx="1727195" cy="1954620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6EA1E65B-46E2-4AB1-87FB-A1FF80AA5A0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740877" y="3438933"/>
            <a:ext cx="1727195" cy="2653892"/>
          </a:xfrm>
        </p:spPr>
        <p:txBody>
          <a:bodyPr tIns="144000" rIns="144000"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5F033A-42CD-46F7-BEB2-224140F87C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6" name="Untertitel 2">
            <a:extLst>
              <a:ext uri="{FF2B5EF4-FFF2-40B4-BE49-F238E27FC236}">
                <a16:creationId xmlns:a16="http://schemas.microsoft.com/office/drawing/2014/main" id="{3F0CDF31-C8CC-4738-83C3-5E10D4CCF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04691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4C6707E2-6AED-4BDE-9798-21D74701382F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79BF0785-316F-440E-98DA-5855C3479F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731835" y="1484632"/>
            <a:ext cx="10728328" cy="4608194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52F803-8B29-4CBB-A5C8-C8ED2EB9B0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DE15C0D2-BFEF-476F-9C7A-F34325EF0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5142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32B1258-3FD8-4FE0-98CC-C32BE0DED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A8C11-0CB9-4E68-A82B-2689FA16F007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349694-B051-45A3-99EF-B5210B1FD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44930B-14A5-4DC8-911B-F40F59E4B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BF11F2F-5703-4A55-8779-469A784449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12192000" cy="6858000"/>
          </a:xfrm>
          <a:noFill/>
        </p:spPr>
        <p:txBody>
          <a:bodyPr tIns="612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Media Placeholder 60">
            <a:extLst>
              <a:ext uri="{FF2B5EF4-FFF2-40B4-BE49-F238E27FC236}">
                <a16:creationId xmlns:a16="http://schemas.microsoft.com/office/drawing/2014/main" id="{561521BA-7005-4E97-A18C-C4E9543123B5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 bwMode="gray">
          <a:xfrm>
            <a:off x="10632955" y="476672"/>
            <a:ext cx="826247" cy="34012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209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 -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572E8C2C-15DE-4877-864B-91B776A2DDA8}"/>
              </a:ext>
            </a:extLst>
          </p:cNvPr>
          <p:cNvSpPr>
            <a:spLocks noGrp="1"/>
          </p:cNvSpPr>
          <p:nvPr>
            <p:ph type="media" sz="quarter" idx="15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noProof="0"/>
              <a:t>Media / Video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A46B6F-4F36-49F4-8DC3-06553911F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A8C11-0CB9-4E68-A82B-2689FA16F007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71C83D-0E55-4602-8E9F-4885D1A0D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907BC0-B4E9-4AC7-BFFD-36DEE4740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Media Placeholder 60">
            <a:extLst>
              <a:ext uri="{FF2B5EF4-FFF2-40B4-BE49-F238E27FC236}">
                <a16:creationId xmlns:a16="http://schemas.microsoft.com/office/drawing/2014/main" id="{2A25E55A-D05E-4E38-A9D9-78D25F6FCEAA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 bwMode="gray">
          <a:xfrm>
            <a:off x="10632955" y="476672"/>
            <a:ext cx="826247" cy="34012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45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Hintergrund neutral">
            <a:extLst>
              <a:ext uri="{FF2B5EF4-FFF2-40B4-BE49-F238E27FC236}">
                <a16:creationId xmlns:a16="http://schemas.microsoft.com/office/drawing/2014/main" id="{B85D4476-4A2A-4A9A-94B9-4070F53698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896C533A-22BC-450A-9894-80CD50BD34D1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3DF82FA-FC52-4C10-91EF-FA0A45481F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31838" y="1484313"/>
            <a:ext cx="10728324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9A99356-4BB3-48AA-B82C-C28512B6B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3A14DC12-481E-49CF-A952-6AFD5CEB7D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483F5E6-DBFA-4D94-B9BC-42E27637C3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0632956" y="479426"/>
            <a:ext cx="827207" cy="337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42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6580690E-B00E-4E29-97E4-D9A459CBA6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3D1A3D56-8D4F-4D1B-BAB4-732D8B286584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6ABE95A1-67EC-473C-9A4B-B05E881496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Presentation Title, Speaker, Location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8594307D-95D7-4564-8D3C-B8A5B99E0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663A6-094E-4432-B512-5915BBDD2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D53C4F74-42F5-400E-81FF-DDF3C4E7A4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31839" y="833075"/>
            <a:ext cx="8027986" cy="2908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2pPr>
            <a:lvl3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3pPr>
            <a:lvl4pPr marL="0" indent="0" algn="l">
              <a:lnSpc>
                <a:spcPct val="85000"/>
              </a:lnSpc>
              <a:buNone/>
              <a:tabLst/>
              <a:defRPr sz="1600">
                <a:solidFill>
                  <a:schemeClr val="accent2"/>
                </a:solidFill>
              </a:defRPr>
            </a:lvl4pPr>
            <a:lvl5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5pPr>
            <a:lvl6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6pPr>
            <a:lvl7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7pPr>
            <a:lvl8pPr marL="0" indent="0" algn="l">
              <a:lnSpc>
                <a:spcPct val="85000"/>
              </a:lnSpc>
              <a:buNone/>
              <a:defRPr sz="1600" b="0">
                <a:solidFill>
                  <a:schemeClr val="accent2"/>
                </a:solidFill>
              </a:defRPr>
            </a:lvl8pPr>
            <a:lvl9pPr marL="0" indent="0" algn="l">
              <a:lnSpc>
                <a:spcPct val="85000"/>
              </a:lnSpc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7757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1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E0434DB-3B27-D540-AB97-A58DF145623D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A1A39E-D551-804F-B57E-6C5C466A80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Slide  #1: Click to Add Title in Arial Bold 28pt. Title Case.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C7C431-5C9A-5A48-A38A-31C957BB39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820DBE-C751-1D46-86EB-F9BDD8536B0F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7DD8F2F-6B66-B34E-9434-BD1260F62D22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Placeholder 5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F1BDFA8B-AFBF-4142-BBF8-9BCBEE138E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653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6538FC-2CE5-4C4B-9799-30B0F841B426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3968C-80FF-8944-A2B2-1D658ECECAF0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953533-E534-EF47-83B1-BFE03463253F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 area, size: 8” x 7.5”.</a:t>
            </a:r>
            <a:br>
              <a:rPr lang="en-US" dirty="0"/>
            </a:br>
            <a:r>
              <a:rPr lang="en-US" dirty="0"/>
              <a:t> 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A0AFB1-2720-244B-A01D-0806512E2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Slide #3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74BA31-7895-4B43-BC23-CFEAC02ED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74846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6538FC-2CE5-4C4B-9799-30B0F841B426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3968C-80FF-8944-A2B2-1D658ECECAF0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953533-E534-EF47-83B1-BFE03463253F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 area, size: 8” x 7.5”.</a:t>
            </a:r>
            <a:br>
              <a:rPr lang="en-US" dirty="0"/>
            </a:br>
            <a:r>
              <a:rPr lang="en-US" dirty="0"/>
              <a:t> 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A0AFB1-2720-244B-A01D-0806512E2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Slide #3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74BA31-7895-4B43-BC23-CFEAC02ED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14674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 userDrawn="1"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 userDrawn="1"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</a:t>
            </a:r>
            <a:br>
              <a:rPr lang="en-US" dirty="0"/>
            </a:br>
            <a:r>
              <a:rPr lang="en-US" dirty="0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1441901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21.png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09FB4610-7AB1-DE45-895B-A160C586AA51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A81C1CC2-597F-764A-8A90-3F8C75BC1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655820"/>
            <a:ext cx="9880228" cy="4737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A6548F-1EDA-3849-A0DE-A334F27F1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4347" y="1296543"/>
            <a:ext cx="11156400" cy="49668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CB28405B-4E36-3749-A149-C32150EE17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365" y="6400800"/>
            <a:ext cx="426914" cy="42976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ctr" anchorCtr="1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EAC5401-B794-1C4D-A638-798EB2B93A3B}"/>
              </a:ext>
            </a:extLst>
          </p:cNvPr>
          <p:cNvSpPr txBox="1"/>
          <p:nvPr userDrawn="1"/>
        </p:nvSpPr>
        <p:spPr>
          <a:xfrm>
            <a:off x="1011514" y="6502165"/>
            <a:ext cx="10255926" cy="1932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>
              <a:defRPr/>
            </a:pPr>
            <a:r>
              <a:rPr lang="en-US" sz="800" b="1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2020 TE Connectivity.</a:t>
            </a:r>
            <a:r>
              <a:rPr lang="en-US" sz="800" b="1" dirty="0">
                <a:solidFill>
                  <a:schemeClr val="tx1"/>
                </a:solidFill>
                <a:effectLst/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chemeClr val="tx1"/>
                </a:solidFill>
                <a:latin typeface="Arial"/>
                <a:cs typeface="Arial"/>
              </a:rPr>
              <a:t>Confidential &amp; Proprietary. Do not reproduce or distribute externally including non-authorized representatives and distributors. </a:t>
            </a:r>
            <a:r>
              <a:rPr lang="en-US" sz="8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sustainable future by limiting print copies, and recycling paper.</a:t>
            </a:r>
            <a:endParaRPr lang="en-US" sz="8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99BD22-669C-A241-B1AD-864FE94B365C}"/>
              </a:ext>
            </a:extLst>
          </p:cNvPr>
          <p:cNvCxnSpPr>
            <a:cxnSpLocks/>
          </p:cNvCxnSpPr>
          <p:nvPr userDrawn="1"/>
        </p:nvCxnSpPr>
        <p:spPr>
          <a:xfrm>
            <a:off x="0" y="6851527"/>
            <a:ext cx="12192000" cy="0"/>
          </a:xfrm>
          <a:prstGeom prst="line">
            <a:avLst/>
          </a:prstGeom>
          <a:ln w="444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0643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47" r:id="rId2"/>
    <p:sldLayoutId id="2147483662" r:id="rId3"/>
    <p:sldLayoutId id="2147483735" r:id="rId4"/>
    <p:sldLayoutId id="2147483716" r:id="rId5"/>
    <p:sldLayoutId id="2147483744" r:id="rId6"/>
    <p:sldLayoutId id="2147483742" r:id="rId7"/>
    <p:sldLayoutId id="2147483748" r:id="rId8"/>
    <p:sldLayoutId id="2147483741" r:id="rId9"/>
    <p:sldLayoutId id="2147483749" r:id="rId10"/>
    <p:sldLayoutId id="2147483750" r:id="rId11"/>
    <p:sldLayoutId id="2147483664" r:id="rId12"/>
    <p:sldLayoutId id="2147483665" r:id="rId13"/>
    <p:sldLayoutId id="2147483668" r:id="rId14"/>
    <p:sldLayoutId id="2147483669" r:id="rId15"/>
    <p:sldLayoutId id="2147483745" r:id="rId16"/>
    <p:sldLayoutId id="2147483746" r:id="rId17"/>
    <p:sldLayoutId id="2147483743" r:id="rId18"/>
    <p:sldLayoutId id="2147483738" r:id="rId19"/>
    <p:sldLayoutId id="2147483739" r:id="rId20"/>
    <p:sldLayoutId id="2147483740" r:id="rId21"/>
    <p:sldLayoutId id="2147483792" r:id="rId2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" y="287810"/>
            <a:ext cx="11731625" cy="60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797" y="655820"/>
            <a:ext cx="1104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1465877"/>
            <a:ext cx="11040000" cy="460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6453" y="6416676"/>
            <a:ext cx="5692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0" y="287809"/>
            <a:ext cx="816000" cy="5953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2258721" y="6502166"/>
            <a:ext cx="36182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400">
              <a:defRPr/>
            </a:pPr>
            <a:r>
              <a:rPr lang="en-US" sz="8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8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799" y="6240858"/>
            <a:ext cx="144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12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88975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139825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oup 114">
            <a:extLst>
              <a:ext uri="{FF2B5EF4-FFF2-40B4-BE49-F238E27FC236}">
                <a16:creationId xmlns:a16="http://schemas.microsoft.com/office/drawing/2014/main" id="{85A27ABD-693A-4A89-A00D-42E9A28FA999}"/>
              </a:ext>
            </a:extLst>
          </p:cNvPr>
          <p:cNvGrpSpPr/>
          <p:nvPr userDrawn="1"/>
        </p:nvGrpSpPr>
        <p:grpSpPr bwMode="gray">
          <a:xfrm>
            <a:off x="371475" y="-74381"/>
            <a:ext cx="11450638" cy="72000"/>
            <a:chOff x="371475" y="-74381"/>
            <a:chExt cx="11450638" cy="72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7B0C4EE-72D4-4300-95C9-86EF51A6107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37147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D42495C4-A7F2-4659-AEB5-141A8BCE65A1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3183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484B9DB1-486C-4EDA-89BB-ADC124F33CCD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55892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A7771059-633C-4320-BA49-A75F792E7B51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63195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049FFE7E-58B2-4FED-B6C1-E3A47049B114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245903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ACFE93FB-1D36-4760-9DE5-FC602D2DB104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253206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43FC945-B836-42CE-841A-5E24D0DA32D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335915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86B0972B-21C2-4853-A6C8-0F4E1EA83004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343217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40A52991-DF8D-43E8-A5A2-C515FB286C1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25926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27C433DC-DA79-48CA-BAD9-6E99F577970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33228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7AA4CA83-F747-44DE-B71D-6B95D4F2C58E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15937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E489B002-03A4-4682-ABB7-D9F393F9B5D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23240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9273820F-AE78-4099-B521-C7C2771FF569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05948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AADD1584-2C7C-4097-BE19-5EACCF63192D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13251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272F92ED-DE4B-4654-A905-0236BD16AB14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96118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942EF5F5-19D1-4193-99D3-1B2A2E016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03421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2812479F-2783-47DA-9887-E80446D8CFBB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85971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67AB2529-3DFC-44A5-8EDD-975570571F3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93273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071DBEE-7045-4A22-8CA8-40F6C8D1CCD1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75982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F40C0191-0B84-4A51-95AA-8CFD28CD6B2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83285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22EB3957-5764-416C-80F6-EA4CD8F2DFB6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65993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A68D63-5F35-42E4-AF9C-7AD59A5CF06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73296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5D897894-1464-4C6F-A67B-2B12B7EF3CA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5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680A0AD-4D11-4441-B574-A04D72FD50D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63307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B7DE13C8-C069-4DAA-947D-34193E5D53F9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46016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F75B390A-E0A3-4726-92C6-2B2745BF8583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82211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471B2F2-07D1-446C-8467-1B9D3E7055BC}"/>
              </a:ext>
            </a:extLst>
          </p:cNvPr>
          <p:cNvGrpSpPr/>
          <p:nvPr userDrawn="1"/>
        </p:nvGrpSpPr>
        <p:grpSpPr bwMode="gray">
          <a:xfrm>
            <a:off x="-74381" y="476250"/>
            <a:ext cx="72003" cy="5976938"/>
            <a:chOff x="-74381" y="476250"/>
            <a:chExt cx="72003" cy="5976938"/>
          </a:xfrm>
        </p:grpSpPr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BCE64D0-1427-4087-8810-16EB70ACA07B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78" y="440250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099F3A0-705B-4F10-B040-CBA10718A2CD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79" y="1447784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913A6CA-2A00-4A86-A329-F88074C75B0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81" y="6417188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96F9FE7F-F83C-43CC-9097-784709A46272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81" y="6056825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A1601F2-FFCE-4503-BAE8-8F6C886A1DBB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78" y="1089538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9DC4C3E1-3F50-4CD6-A445-4B13F0414D80}"/>
              </a:ext>
            </a:extLst>
          </p:cNvPr>
          <p:cNvGrpSpPr/>
          <p:nvPr userDrawn="1"/>
        </p:nvGrpSpPr>
        <p:grpSpPr bwMode="gray">
          <a:xfrm>
            <a:off x="371475" y="6861175"/>
            <a:ext cx="11450638" cy="72000"/>
            <a:chOff x="371475" y="-74381"/>
            <a:chExt cx="11450638" cy="72000"/>
          </a:xfrm>
        </p:grpSpPr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BED54A5B-8C8E-40A1-A3B8-DCE23DD237C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37147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EA3141D6-4458-414D-B16A-0C9F1BFB056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3183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10C510E-F31A-4CCB-9FB2-68D7BC70753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55892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67814C2-AE9B-4279-8EE4-3856F2C0E363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63195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A4FF65F6-FF2F-4C40-B29D-48D5995934D1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245903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41A44435-8565-4B39-8ECB-FDA68F33132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253206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D5F5B84-133D-4B10-AED1-3F80207B329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335915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0C61327-EAB6-4EAB-BDEB-CE41133300C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343217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627C1FB-A5BA-475C-B8CB-34AAF10BF0F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25926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C52F9219-BF7E-4C7F-941A-066E294FD98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33228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D7037A8D-0A2F-4B06-BAFF-A71D0A7DD603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15937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8EE8A380-2F66-4F07-9827-7C4124C5A52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23240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2AD8E189-15BC-4663-960D-EAF3AC32EE3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05948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D905D79F-1937-4398-A580-1DF0A8E6141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13251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1FB2B837-9E26-4253-9A2C-D979D6A5AE24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96118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6CAFB5AA-8BC3-4414-B4F3-3166862FEBF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03421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DED202EE-279D-4EF1-A226-3E0A537C575D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85971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1BD0DD62-B5DC-4BA8-A06F-A33BFA9D3713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93273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6256D9D7-B1C3-4DB2-A2FC-7A299782E00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75982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3418E4DE-27C6-417A-B4B1-86C274FEBB7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83285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C7EB0953-687E-45EB-8A40-FB50450FC9BB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659938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D81F0F14-9DE4-4B62-9ECA-E894ABB4B7A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73296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4F1B5E5C-34E8-4F77-A62C-A5C098275F5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560050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631B5C35-8CF7-448A-A2A8-8A58EF8ABA5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0633075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BDFE162E-8667-43C8-8ADB-BF93E25FB5B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46016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4EF02478-4E38-416E-BE9A-BDD0367F1B0B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822113" y="-74381"/>
              <a:ext cx="0" cy="72000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4" name="Title Placeholder 143">
            <a:extLst>
              <a:ext uri="{FF2B5EF4-FFF2-40B4-BE49-F238E27FC236}">
                <a16:creationId xmlns:a16="http://schemas.microsoft.com/office/drawing/2014/main" id="{869E9A08-BAFD-4AF1-AC26-45A9C703A02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31838" y="473074"/>
            <a:ext cx="8027987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 dirty="0"/>
              <a:t>Click to add title  </a:t>
            </a:r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A68FFEE6-3BC0-42B4-9453-34D3AE4806C3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731838" y="1483784"/>
            <a:ext cx="10728325" cy="46090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noProof="0"/>
              <a:t>First text layer </a:t>
            </a:r>
          </a:p>
          <a:p>
            <a:pPr lvl="1"/>
            <a:r>
              <a:rPr lang="en-US" noProof="0"/>
              <a:t>Second text layer </a:t>
            </a:r>
          </a:p>
          <a:p>
            <a:pPr lvl="2"/>
            <a:r>
              <a:rPr lang="en-US" noProof="0"/>
              <a:t>Third text layer </a:t>
            </a:r>
          </a:p>
          <a:p>
            <a:pPr lvl="3"/>
            <a:r>
              <a:rPr lang="en-US" noProof="0"/>
              <a:t>Fourth text layer </a:t>
            </a:r>
          </a:p>
          <a:p>
            <a:pPr lvl="4"/>
            <a:r>
              <a:rPr lang="en-US" noProof="0"/>
              <a:t>Fifth text layer </a:t>
            </a:r>
          </a:p>
          <a:p>
            <a:pPr lvl="5"/>
            <a:r>
              <a:rPr lang="en-US" noProof="0"/>
              <a:t>Sixth text layer </a:t>
            </a:r>
          </a:p>
          <a:p>
            <a:pPr lvl="6"/>
            <a:r>
              <a:rPr lang="en-US" noProof="0"/>
              <a:t>Seventh text layer </a:t>
            </a:r>
          </a:p>
          <a:p>
            <a:pPr lvl="7"/>
            <a:r>
              <a:rPr lang="en-US" noProof="0"/>
              <a:t>Eighth text layer </a:t>
            </a:r>
          </a:p>
          <a:p>
            <a:pPr lvl="8"/>
            <a:r>
              <a:rPr lang="en-US" noProof="0"/>
              <a:t>Ninth text layer</a:t>
            </a:r>
          </a:p>
        </p:txBody>
      </p:sp>
      <p:sp>
        <p:nvSpPr>
          <p:cNvPr id="146" name="Date Placeholder 145">
            <a:extLst>
              <a:ext uri="{FF2B5EF4-FFF2-40B4-BE49-F238E27FC236}">
                <a16:creationId xmlns:a16="http://schemas.microsoft.com/office/drawing/2014/main" id="{B74712A8-DE9D-4693-9CA9-778C6AE9E88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731838" y="6812281"/>
            <a:ext cx="234948" cy="4571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">
                <a:noFill/>
              </a:defRPr>
            </a:lvl1pPr>
          </a:lstStyle>
          <a:p>
            <a:fld id="{D67A8C11-0CB9-4E68-A82B-2689FA16F007}" type="datetime1">
              <a:rPr lang="en-US" noProof="0" smtClean="0"/>
              <a:t>10/18/2021</a:t>
            </a:fld>
            <a:endParaRPr lang="en-US" noProof="0"/>
          </a:p>
        </p:txBody>
      </p:sp>
      <p:sp>
        <p:nvSpPr>
          <p:cNvPr id="147" name="Footer Placeholder 146">
            <a:extLst>
              <a:ext uri="{FF2B5EF4-FFF2-40B4-BE49-F238E27FC236}">
                <a16:creationId xmlns:a16="http://schemas.microsoft.com/office/drawing/2014/main" id="{01CD6BE3-FFDB-42F5-AA46-A9E0965A0A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731837" y="6453188"/>
            <a:ext cx="8928101" cy="404811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lnSpc>
                <a:spcPct val="80000"/>
              </a:lnSpc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Presentation Title, Speaker, Location</a:t>
            </a:r>
          </a:p>
        </p:txBody>
      </p:sp>
      <p:sp>
        <p:nvSpPr>
          <p:cNvPr id="148" name="Slide Number Placeholder 147">
            <a:extLst>
              <a:ext uri="{FF2B5EF4-FFF2-40B4-BE49-F238E27FC236}">
                <a16:creationId xmlns:a16="http://schemas.microsoft.com/office/drawing/2014/main" id="{3D408A59-45F5-4114-9CCA-73CD84EE27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20102" y="6453188"/>
            <a:ext cx="540061" cy="404812"/>
          </a:xfrm>
          <a:prstGeom prst="rect">
            <a:avLst/>
          </a:prstGeom>
          <a:blipFill>
            <a:blip r:embed="rId20"/>
            <a:stretch>
              <a:fillRect/>
            </a:stretch>
          </a:blipFill>
        </p:spPr>
        <p:txBody>
          <a:bodyPr vert="horz" wrap="none" lIns="0" tIns="0" rIns="0" bIns="0" rtlCol="0" anchor="t"/>
          <a:lstStyle>
            <a:lvl1pPr algn="ctr">
              <a:lnSpc>
                <a:spcPct val="80000"/>
              </a:lnSpc>
              <a:defRPr sz="800">
                <a:solidFill>
                  <a:schemeClr val="accent2"/>
                </a:solidFill>
              </a:defRPr>
            </a:lvl1pPr>
          </a:lstStyle>
          <a:p>
            <a:fld id="{226D7710-438E-4161-93C9-3F9A4222BCCB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95A207B-FE03-4CE7-8E1E-7B6344200097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gray">
          <a:xfrm>
            <a:off x="10632956" y="479426"/>
            <a:ext cx="827207" cy="337892"/>
          </a:xfrm>
          <a:prstGeom prst="rect">
            <a:avLst/>
          </a:prstGeom>
        </p:spPr>
      </p:pic>
      <p:grpSp>
        <p:nvGrpSpPr>
          <p:cNvPr id="84" name="Group 15">
            <a:extLst>
              <a:ext uri="{FF2B5EF4-FFF2-40B4-BE49-F238E27FC236}">
                <a16:creationId xmlns:a16="http://schemas.microsoft.com/office/drawing/2014/main" id="{7C9340B8-44D7-42B8-BA03-98D132AF3DC6}"/>
              </a:ext>
            </a:extLst>
          </p:cNvPr>
          <p:cNvGrpSpPr/>
          <p:nvPr userDrawn="1"/>
        </p:nvGrpSpPr>
        <p:grpSpPr bwMode="gray">
          <a:xfrm>
            <a:off x="12205523" y="476250"/>
            <a:ext cx="72003" cy="5980113"/>
            <a:chOff x="-74381" y="476250"/>
            <a:chExt cx="72003" cy="5980113"/>
          </a:xfrm>
        </p:grpSpPr>
        <p:cxnSp>
          <p:nvCxnSpPr>
            <p:cNvPr id="85" name="Straight Connector 110">
              <a:extLst>
                <a:ext uri="{FF2B5EF4-FFF2-40B4-BE49-F238E27FC236}">
                  <a16:creationId xmlns:a16="http://schemas.microsoft.com/office/drawing/2014/main" id="{A6FE33AA-E44D-4CB3-B870-8B6A9E34442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78" y="440250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11">
              <a:extLst>
                <a:ext uri="{FF2B5EF4-FFF2-40B4-BE49-F238E27FC236}">
                  <a16:creationId xmlns:a16="http://schemas.microsoft.com/office/drawing/2014/main" id="{BB59A8FE-9136-4D50-AD69-F176635D93A3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79" y="1447784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13">
              <a:extLst>
                <a:ext uri="{FF2B5EF4-FFF2-40B4-BE49-F238E27FC236}">
                  <a16:creationId xmlns:a16="http://schemas.microsoft.com/office/drawing/2014/main" id="{21C9A2B1-B918-4DB4-ADD3-136005D01C35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81" y="6420363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70">
              <a:extLst>
                <a:ext uri="{FF2B5EF4-FFF2-40B4-BE49-F238E27FC236}">
                  <a16:creationId xmlns:a16="http://schemas.microsoft.com/office/drawing/2014/main" id="{6D9ED5C3-222C-48C6-A241-088F0C8BC5F8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81" y="6056825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48">
              <a:extLst>
                <a:ext uri="{FF2B5EF4-FFF2-40B4-BE49-F238E27FC236}">
                  <a16:creationId xmlns:a16="http://schemas.microsoft.com/office/drawing/2014/main" id="{AC703044-6861-4296-9701-9FFDC81A0F0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38378" y="1089538"/>
              <a:ext cx="0" cy="720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hteck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C9153773-E385-4AF4-A559-5407516B4F72}"/>
              </a:ext>
            </a:extLst>
          </p:cNvPr>
          <p:cNvSpPr/>
          <p:nvPr userDrawn="1"/>
        </p:nvSpPr>
        <p:spPr bwMode="gray">
          <a:xfrm>
            <a:off x="11293165" y="6345900"/>
            <a:ext cx="262854" cy="295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164" name="Rechteck 16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2F007E43-A359-43BA-8699-313CA82C1C7D}"/>
              </a:ext>
            </a:extLst>
          </p:cNvPr>
          <p:cNvSpPr/>
          <p:nvPr userDrawn="1"/>
        </p:nvSpPr>
        <p:spPr bwMode="gray">
          <a:xfrm>
            <a:off x="10824246" y="6345900"/>
            <a:ext cx="262854" cy="295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26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2200" b="1" kern="1200" baseline="0">
          <a:solidFill>
            <a:schemeClr val="bg2"/>
          </a:solidFill>
          <a:latin typeface="+mj-lt"/>
          <a:ea typeface="+mj-ea"/>
          <a:cs typeface="+mj-cs"/>
        </a:defRPr>
      </a:lvl1pPr>
      <a:lvl2pPr algn="l" eaLnBrk="1" hangingPunct="1">
        <a:defRPr sz="2200" b="1" kern="1200" spc="0" baseline="0">
          <a:solidFill>
            <a:schemeClr val="bg2"/>
          </a:solidFill>
          <a:latin typeface="+mj-lt"/>
        </a:defRPr>
      </a:lvl2pPr>
      <a:lvl3pPr algn="l" eaLnBrk="1" hangingPunct="1">
        <a:defRPr sz="2200" b="1" kern="1200" baseline="0">
          <a:solidFill>
            <a:schemeClr val="bg2"/>
          </a:solidFill>
          <a:latin typeface="+mj-lt"/>
        </a:defRPr>
      </a:lvl3pPr>
      <a:lvl4pPr algn="l" eaLnBrk="1" hangingPunct="1">
        <a:defRPr sz="2200" b="1" kern="1200" baseline="0">
          <a:solidFill>
            <a:schemeClr val="bg2"/>
          </a:solidFill>
          <a:latin typeface="+mj-lt"/>
        </a:defRPr>
      </a:lvl4pPr>
      <a:lvl5pPr algn="l" eaLnBrk="1" hangingPunct="1">
        <a:defRPr sz="2200" b="1" kern="1200" baseline="0">
          <a:solidFill>
            <a:schemeClr val="bg2"/>
          </a:solidFill>
          <a:latin typeface="+mj-lt"/>
        </a:defRPr>
      </a:lvl5pPr>
      <a:lvl6pPr algn="l" eaLnBrk="1" hangingPunct="1">
        <a:defRPr sz="2200" b="1" kern="1200" baseline="0">
          <a:solidFill>
            <a:schemeClr val="bg2"/>
          </a:solidFill>
          <a:latin typeface="+mj-lt"/>
        </a:defRPr>
      </a:lvl6pPr>
      <a:lvl7pPr algn="l" eaLnBrk="1" hangingPunct="1">
        <a:defRPr sz="2200" b="1" kern="1200" baseline="0">
          <a:solidFill>
            <a:schemeClr val="bg2"/>
          </a:solidFill>
          <a:latin typeface="+mj-lt"/>
        </a:defRPr>
      </a:lvl7pPr>
      <a:lvl8pPr algn="l" eaLnBrk="1" hangingPunct="1">
        <a:defRPr sz="2200" b="1" kern="1200" baseline="0">
          <a:solidFill>
            <a:schemeClr val="bg2"/>
          </a:solidFill>
          <a:latin typeface="+mj-lt"/>
        </a:defRPr>
      </a:lvl8pPr>
      <a:lvl9pPr algn="l" eaLnBrk="1" hangingPunct="1">
        <a:defRPr sz="2200" b="1" kern="1200" baseline="0">
          <a:solidFill>
            <a:schemeClr val="bg2"/>
          </a:solidFill>
          <a:latin typeface="+mj-lt"/>
        </a:defRPr>
      </a:lvl9pPr>
    </p:titleStyle>
    <p:bodyStyle>
      <a:lvl1pPr marL="0" indent="0" algn="l" defTabSz="914377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377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bg2"/>
        </a:buClr>
        <a:buFont typeface="Open Sans" panose="020B0606030504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377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bg2"/>
        </a:buClr>
        <a:buFont typeface="Open Sans" panose="020B0606030504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16000" indent="-216000" algn="l" defTabSz="914377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216000" algn="l" defTabSz="914377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bg2"/>
        </a:buClr>
        <a:buFont typeface="+mj-lt"/>
        <a:buAutoNum type="alphaL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914377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bg2"/>
        </a:buClr>
        <a:buFont typeface="+mj-lt"/>
        <a:buAutoNum type="romanL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400" b="1" kern="1200">
          <a:solidFill>
            <a:schemeClr val="bg2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34">
          <p15:clr>
            <a:srgbClr val="F26B43"/>
          </p15:clr>
        </p15:guide>
        <p15:guide id="3" pos="461">
          <p15:clr>
            <a:srgbClr val="F26B43"/>
          </p15:clr>
        </p15:guide>
        <p15:guide id="7" pos="7219">
          <p15:clr>
            <a:srgbClr val="F26B43"/>
          </p15:clr>
        </p15:guide>
        <p15:guide id="8" pos="7446">
          <p15:clr>
            <a:srgbClr val="F26B43"/>
          </p15:clr>
        </p15:guide>
        <p15:guide id="9" pos="982">
          <p15:clr>
            <a:srgbClr val="F26B43"/>
          </p15:clr>
        </p15:guide>
        <p15:guide id="10" pos="1028">
          <p15:clr>
            <a:srgbClr val="F26B43"/>
          </p15:clr>
        </p15:guide>
        <p15:guide id="11" pos="1549">
          <p15:clr>
            <a:srgbClr val="F26B43"/>
          </p15:clr>
        </p15:guide>
        <p15:guide id="12" pos="1595">
          <p15:clr>
            <a:srgbClr val="F26B43"/>
          </p15:clr>
        </p15:guide>
        <p15:guide id="13" pos="2116">
          <p15:clr>
            <a:srgbClr val="F26B43"/>
          </p15:clr>
        </p15:guide>
        <p15:guide id="14" pos="2162">
          <p15:clr>
            <a:srgbClr val="F26B43"/>
          </p15:clr>
        </p15:guide>
        <p15:guide id="15" pos="2683">
          <p15:clr>
            <a:srgbClr val="F26B43"/>
          </p15:clr>
        </p15:guide>
        <p15:guide id="16" pos="2729">
          <p15:clr>
            <a:srgbClr val="F26B43"/>
          </p15:clr>
        </p15:guide>
        <p15:guide id="17" pos="3250">
          <p15:clr>
            <a:srgbClr val="F26B43"/>
          </p15:clr>
        </p15:guide>
        <p15:guide id="18" pos="3296">
          <p15:clr>
            <a:srgbClr val="F26B43"/>
          </p15:clr>
        </p15:guide>
        <p15:guide id="19" pos="3817">
          <p15:clr>
            <a:srgbClr val="F26B43"/>
          </p15:clr>
        </p15:guide>
        <p15:guide id="20" pos="3863">
          <p15:clr>
            <a:srgbClr val="F26B43"/>
          </p15:clr>
        </p15:guide>
        <p15:guide id="21" pos="4384">
          <p15:clr>
            <a:srgbClr val="F26B43"/>
          </p15:clr>
        </p15:guide>
        <p15:guide id="22" pos="4430">
          <p15:clr>
            <a:srgbClr val="F26B43"/>
          </p15:clr>
        </p15:guide>
        <p15:guide id="23" pos="4951">
          <p15:clr>
            <a:srgbClr val="F26B43"/>
          </p15:clr>
        </p15:guide>
        <p15:guide id="24" pos="4997">
          <p15:clr>
            <a:srgbClr val="F26B43"/>
          </p15:clr>
        </p15:guide>
        <p15:guide id="25" pos="5518">
          <p15:clr>
            <a:srgbClr val="F26B43"/>
          </p15:clr>
        </p15:guide>
        <p15:guide id="26" pos="5564">
          <p15:clr>
            <a:srgbClr val="F26B43"/>
          </p15:clr>
        </p15:guide>
        <p15:guide id="27" pos="6085">
          <p15:clr>
            <a:srgbClr val="F26B43"/>
          </p15:clr>
        </p15:guide>
        <p15:guide id="28" pos="6131">
          <p15:clr>
            <a:srgbClr val="F26B43"/>
          </p15:clr>
        </p15:guide>
        <p15:guide id="29" pos="6652">
          <p15:clr>
            <a:srgbClr val="F26B43"/>
          </p15:clr>
        </p15:guide>
        <p15:guide id="30" pos="6698">
          <p15:clr>
            <a:srgbClr val="F26B43"/>
          </p15:clr>
        </p15:guide>
        <p15:guide id="33" orient="horz" pos="4065">
          <p15:clr>
            <a:srgbClr val="F26B43"/>
          </p15:clr>
        </p15:guide>
        <p15:guide id="34" orient="horz" pos="709">
          <p15:clr>
            <a:srgbClr val="F26B43"/>
          </p15:clr>
        </p15:guide>
        <p15:guide id="35" orient="horz" pos="935">
          <p15:clr>
            <a:srgbClr val="F26B43"/>
          </p15:clr>
        </p15:guide>
        <p15:guide id="36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27.png"/><Relationship Id="rId7" Type="http://schemas.openxmlformats.org/officeDocument/2006/relationships/image" Target="../media/image41.wm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wmf"/><Relationship Id="rId5" Type="http://schemas.openxmlformats.org/officeDocument/2006/relationships/image" Target="../media/image29.png"/><Relationship Id="rId10" Type="http://schemas.openxmlformats.org/officeDocument/2006/relationships/image" Target="../media/image25.png"/><Relationship Id="rId4" Type="http://schemas.openxmlformats.org/officeDocument/2006/relationships/image" Target="../media/image28.png"/><Relationship Id="rId9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9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54.jpeg"/><Relationship Id="rId4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hyperlink" Target="https://www.te.com/commerce/DocumentDelivery/DDEController?Action=showdoc&amp;DocId=Data+Sheet%7f7-1773983-5%7f2006%7fpdf%7fEnglish%7fENG_DS_7-1773983-5_2006.pdf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te.com/commerce/DocumentDelivery/DDEController?Action=srchrtrv&amp;DocNm=1-1773703-8_MINI_IO&amp;DocType=DS&amp;DocLang=EN" TargetMode="Externa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4.emf"/><Relationship Id="rId4" Type="http://schemas.openxmlformats.org/officeDocument/2006/relationships/image" Target="../media/image33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65848-2E2E-0B46-B3ED-D11E824A0B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ini-I/O Field Installable Cable Connector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15C518-D877-654A-AA58-1FE76FCB48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8345" y="4683184"/>
            <a:ext cx="4133088" cy="1243584"/>
          </a:xfrm>
        </p:spPr>
        <p:txBody>
          <a:bodyPr/>
          <a:lstStyle/>
          <a:p>
            <a:r>
              <a:rPr lang="en-US" dirty="0"/>
              <a:t>Ruud van den Brink</a:t>
            </a:r>
          </a:p>
          <a:p>
            <a:r>
              <a:rPr lang="en-US" dirty="0"/>
              <a:t>GPM Industrial Communications</a:t>
            </a:r>
          </a:p>
          <a:p>
            <a:r>
              <a:rPr lang="en-US" dirty="0"/>
              <a:t>2021-03-08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321C16-2EAE-E044-B020-87C1D9B0BC55}"/>
              </a:ext>
            </a:extLst>
          </p:cNvPr>
          <p:cNvSpPr/>
          <p:nvPr/>
        </p:nvSpPr>
        <p:spPr>
          <a:xfrm>
            <a:off x="-104174" y="-554791"/>
            <a:ext cx="122961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3"/>
            <a:r>
              <a:rPr lang="en-US" sz="1200" b="1" dirty="0">
                <a:solidFill>
                  <a:schemeClr val="accent4"/>
                </a:solidFill>
                <a:latin typeface="Arial" charset="0"/>
              </a:rPr>
              <a:t>INSTRUCTION</a:t>
            </a:r>
            <a:r>
              <a:rPr lang="en-US" sz="1200" dirty="0">
                <a:solidFill>
                  <a:schemeClr val="accent4"/>
                </a:solidFill>
                <a:latin typeface="Arial" charset="0"/>
              </a:rPr>
              <a:t>: Cover image below may be replaced in the slide master with another image from either the </a:t>
            </a:r>
            <a:r>
              <a:rPr lang="en-US" sz="1200" b="1" dirty="0">
                <a:solidFill>
                  <a:schemeClr val="accent4"/>
                </a:solidFill>
                <a:latin typeface="Arial" charset="0"/>
              </a:rPr>
              <a:t>Images Library PowerPoint </a:t>
            </a:r>
            <a:r>
              <a:rPr lang="en-US" sz="1200" dirty="0">
                <a:solidFill>
                  <a:schemeClr val="accent4"/>
                </a:solidFill>
                <a:latin typeface="Arial" charset="0"/>
              </a:rPr>
              <a:t>provided along with this template OR a licensed image which meets TE’s photography guidelines to meet user’s requirement. Delete this instruction in final presentation.</a:t>
            </a:r>
            <a:endParaRPr lang="en-US" sz="12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2689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739E14-2DD3-4F1A-8113-5A97F4334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Mini-IO Advantages</a:t>
            </a:r>
          </a:p>
        </p:txBody>
      </p:sp>
      <p:sp>
        <p:nvSpPr>
          <p:cNvPr id="5" name="Text Box 2">
            <a:extLst>
              <a:ext uri="{FF2B5EF4-FFF2-40B4-BE49-F238E27FC236}">
                <a16:creationId xmlns:a16="http://schemas.microsoft.com/office/drawing/2014/main" id="{498E4DF9-D7A8-4428-B248-F2BF7B941D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5188" y="1341439"/>
            <a:ext cx="806450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ts val="3000"/>
              </a:lnSpc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lnSpc>
                <a:spcPts val="2800"/>
              </a:lnSpc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lnSpc>
                <a:spcPts val="2700"/>
              </a:lnSpc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>
              <a:lnSpc>
                <a:spcPts val="2600"/>
              </a:lnSpc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69963">
              <a:lnSpc>
                <a:spcPts val="2600"/>
              </a:lnSpc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en-US" altLang="ja-JP" sz="1600" dirty="0">
                <a:latin typeface="+mn-lt"/>
                <a:ea typeface="+mn-ea"/>
                <a:cs typeface="+mn-cs"/>
              </a:rPr>
              <a:t>Industrial Mini-I/O is a reliable compact wire to board connector system for Industrial Communications.</a:t>
            </a:r>
            <a:r>
              <a:rPr lang="ja-JP" altLang="en-US" sz="1600" dirty="0">
                <a:latin typeface="+mn-lt"/>
                <a:ea typeface="+mn-ea"/>
                <a:cs typeface="+mn-cs"/>
              </a:rPr>
              <a:t>   </a:t>
            </a:r>
            <a:r>
              <a:rPr lang="en-US" altLang="ja-JP" sz="1600" dirty="0">
                <a:latin typeface="+mn-lt"/>
                <a:ea typeface="+mn-ea"/>
                <a:cs typeface="+mn-cs"/>
              </a:rPr>
              <a:t>It is 25% of the original size of an RJ45.</a:t>
            </a:r>
            <a:endParaRPr lang="ja-JP" altLang="en-US" sz="1600" dirty="0">
              <a:latin typeface="+mn-lt"/>
              <a:ea typeface="+mn-ea"/>
              <a:cs typeface="+mn-cs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FBD5930F-3AC2-42F7-9B52-5C22B2C08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8213" y="2276475"/>
            <a:ext cx="3744912" cy="2471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 Box 4">
            <a:extLst>
              <a:ext uri="{FF2B5EF4-FFF2-40B4-BE49-F238E27FC236}">
                <a16:creationId xmlns:a16="http://schemas.microsoft.com/office/drawing/2014/main" id="{E10CFAFE-03F6-4213-8514-943E1B052E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6095" y="5084186"/>
            <a:ext cx="4581017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lnSpc>
                <a:spcPts val="3000"/>
              </a:lnSpc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lnSpc>
                <a:spcPts val="2800"/>
              </a:lnSpc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lnSpc>
                <a:spcPts val="2700"/>
              </a:lnSpc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>
              <a:lnSpc>
                <a:spcPts val="2600"/>
              </a:lnSpc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69963">
              <a:lnSpc>
                <a:spcPts val="2600"/>
              </a:lnSpc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en-US" altLang="ja-JP" sz="1600" dirty="0">
                <a:latin typeface="+mn-lt"/>
                <a:ea typeface="+mn-ea"/>
                <a:cs typeface="+mn-cs"/>
              </a:rPr>
              <a:t>Blue: 	Industrial Mini-I/O Connector</a:t>
            </a:r>
          </a:p>
          <a:p>
            <a:pPr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en-US" altLang="ja-JP" sz="1600" dirty="0">
                <a:latin typeface="+mn-lt"/>
                <a:ea typeface="+mn-ea"/>
                <a:cs typeface="+mn-cs"/>
              </a:rPr>
              <a:t>Green:</a:t>
            </a:r>
            <a:r>
              <a:rPr lang="ja-JP" altLang="en-US" sz="1600" dirty="0">
                <a:latin typeface="+mn-lt"/>
                <a:ea typeface="+mn-ea"/>
                <a:cs typeface="+mn-cs"/>
              </a:rPr>
              <a:t>     </a:t>
            </a:r>
            <a:r>
              <a:rPr lang="en-US" altLang="ja-JP" sz="1600" dirty="0">
                <a:latin typeface="+mn-lt"/>
                <a:ea typeface="+mn-ea"/>
                <a:cs typeface="+mn-cs"/>
              </a:rPr>
              <a:t>RJ45 Connector</a:t>
            </a:r>
            <a:endParaRPr lang="ja-JP" altLang="en-US" sz="1600" dirty="0">
              <a:latin typeface="+mn-lt"/>
              <a:ea typeface="+mn-ea"/>
              <a:cs typeface="+mn-cs"/>
            </a:endParaRPr>
          </a:p>
        </p:txBody>
      </p:sp>
      <p:pic>
        <p:nvPicPr>
          <p:cNvPr id="8" name="Picture 6" descr="Mini IO 2">
            <a:extLst>
              <a:ext uri="{FF2B5EF4-FFF2-40B4-BE49-F238E27FC236}">
                <a16:creationId xmlns:a16="http://schemas.microsoft.com/office/drawing/2014/main" id="{84F5D1F7-4991-4393-85E7-34920E463E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2130" b="1222"/>
          <a:stretch/>
        </p:blipFill>
        <p:spPr bwMode="auto">
          <a:xfrm>
            <a:off x="6248400" y="2286000"/>
            <a:ext cx="3867150" cy="2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46565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AFD50-BE9C-4F38-BD09-34951615F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Mini-I/O Family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0A7EF-822C-4F3A-9430-CDECADB84D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267" y="2630921"/>
            <a:ext cx="1463040" cy="11785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F1F3BFC-44E9-4B9B-A576-F2DB9B26DF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8145" y="2746003"/>
            <a:ext cx="1959483" cy="11598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CF897CC-1D13-4E91-A2D2-AF1C971F1F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2837" y="2811426"/>
            <a:ext cx="2497165" cy="16594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F0411D-8693-47A0-9D39-289F235718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0352" y="2526286"/>
            <a:ext cx="1584198" cy="101297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D6E39CA-5533-45B2-9D6B-36FA58860891}"/>
              </a:ext>
            </a:extLst>
          </p:cNvPr>
          <p:cNvSpPr txBox="1"/>
          <p:nvPr/>
        </p:nvSpPr>
        <p:spPr>
          <a:xfrm>
            <a:off x="362426" y="1439526"/>
            <a:ext cx="38770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/A and vertical Board Connectors</a:t>
            </a:r>
          </a:p>
          <a:p>
            <a:r>
              <a:rPr lang="en-US" dirty="0"/>
              <a:t>Type 1 and Type II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706A85-8ECF-4C7D-B6BF-EE7D3F77E83F}"/>
              </a:ext>
            </a:extLst>
          </p:cNvPr>
          <p:cNvSpPr txBox="1"/>
          <p:nvPr/>
        </p:nvSpPr>
        <p:spPr>
          <a:xfrm>
            <a:off x="4085180" y="2099672"/>
            <a:ext cx="40395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lder and piercing cable connectors</a:t>
            </a:r>
          </a:p>
          <a:p>
            <a:r>
              <a:rPr lang="en-US" dirty="0"/>
              <a:t>Type 1 and Type II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F00B30-FE85-470A-B4BE-3354C60A9C26}"/>
              </a:ext>
            </a:extLst>
          </p:cNvPr>
          <p:cNvSpPr txBox="1"/>
          <p:nvPr/>
        </p:nvSpPr>
        <p:spPr>
          <a:xfrm>
            <a:off x="9414416" y="2075868"/>
            <a:ext cx="2952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ini-I/O Cord sets</a:t>
            </a:r>
          </a:p>
          <a:p>
            <a:r>
              <a:rPr lang="en-US" dirty="0"/>
              <a:t>Type 1 and Type II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7F9816B0-3D07-4B1D-814E-72D8F479FC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56" y="2746003"/>
            <a:ext cx="1605627" cy="1154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5">
            <a:extLst>
              <a:ext uri="{FF2B5EF4-FFF2-40B4-BE49-F238E27FC236}">
                <a16:creationId xmlns:a16="http://schemas.microsoft.com/office/drawing/2014/main" id="{C16F1E4A-8519-47E5-B1F5-D118756DCC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442" y="4455813"/>
            <a:ext cx="792614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lvl="1"/>
            <a:r>
              <a:rPr lang="en-US" altLang="ja-JP" sz="1800" dirty="0">
                <a:latin typeface="+mn-lt"/>
                <a:ea typeface="+mn-ea"/>
              </a:rPr>
              <a:t>Hand tool is available for wire termination and cable crimp</a:t>
            </a:r>
          </a:p>
        </p:txBody>
      </p:sp>
      <p:pic>
        <p:nvPicPr>
          <p:cNvPr id="14" name="Picture 9">
            <a:extLst>
              <a:ext uri="{FF2B5EF4-FFF2-40B4-BE49-F238E27FC236}">
                <a16:creationId xmlns:a16="http://schemas.microsoft.com/office/drawing/2014/main" id="{CF562FE0-9891-42BE-86E5-FE859731BD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281" y="5024265"/>
            <a:ext cx="1469278" cy="1064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Line 10">
            <a:extLst>
              <a:ext uri="{FF2B5EF4-FFF2-40B4-BE49-F238E27FC236}">
                <a16:creationId xmlns:a16="http://schemas.microsoft.com/office/drawing/2014/main" id="{425CCD79-60BA-46EE-A008-D9643CDFD0A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37474" y="5920953"/>
            <a:ext cx="0" cy="342716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6" name="Line 11">
            <a:extLst>
              <a:ext uri="{FF2B5EF4-FFF2-40B4-BE49-F238E27FC236}">
                <a16:creationId xmlns:a16="http://schemas.microsoft.com/office/drawing/2014/main" id="{E6F42137-3FB1-4EDC-B9AF-2A10D2A9F9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237474" y="4942976"/>
            <a:ext cx="1568" cy="404467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7" name="Picture 12">
            <a:extLst>
              <a:ext uri="{FF2B5EF4-FFF2-40B4-BE49-F238E27FC236}">
                <a16:creationId xmlns:a16="http://schemas.microsoft.com/office/drawing/2014/main" id="{0662CDC3-65D0-443E-ACCF-03C85E328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8899" y="5030333"/>
            <a:ext cx="1820231" cy="1062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Line 13">
            <a:extLst>
              <a:ext uri="{FF2B5EF4-FFF2-40B4-BE49-F238E27FC236}">
                <a16:creationId xmlns:a16="http://schemas.microsoft.com/office/drawing/2014/main" id="{0026322E-B540-42E8-B027-2BF820DDAA34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390441" y="5658015"/>
            <a:ext cx="299666" cy="319559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9" name="Line 14">
            <a:extLst>
              <a:ext uri="{FF2B5EF4-FFF2-40B4-BE49-F238E27FC236}">
                <a16:creationId xmlns:a16="http://schemas.microsoft.com/office/drawing/2014/main" id="{F1FE53B7-42BD-4288-8202-622F7EF6C838}"/>
              </a:ext>
            </a:extLst>
          </p:cNvPr>
          <p:cNvSpPr>
            <a:spLocks noChangeShapeType="1"/>
          </p:cNvSpPr>
          <p:nvPr/>
        </p:nvSpPr>
        <p:spPr bwMode="auto">
          <a:xfrm>
            <a:off x="7847942" y="4977710"/>
            <a:ext cx="301235" cy="334997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0F822845-EB44-4216-88D8-0E9FDEF415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7485" y="6106363"/>
            <a:ext cx="209448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ja-JP" sz="1800" dirty="0">
                <a:latin typeface="+mn-lt"/>
                <a:ea typeface="+mn-ea"/>
              </a:rPr>
              <a:t>Wire termination</a:t>
            </a:r>
            <a:endParaRPr lang="ja-JP" altLang="en-US" sz="1800" dirty="0">
              <a:latin typeface="+mn-lt"/>
              <a:ea typeface="+mn-ea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60E648C4-2B44-4199-B090-7E722D043D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5856" y="6145171"/>
            <a:ext cx="141577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ja-JP" sz="1800" dirty="0">
                <a:latin typeface="+mn-lt"/>
                <a:ea typeface="+mn-ea"/>
              </a:rPr>
              <a:t>Cable crimp</a:t>
            </a:r>
            <a:endParaRPr lang="ja-JP" altLang="en-US" sz="1800" dirty="0">
              <a:latin typeface="+mn-lt"/>
              <a:ea typeface="+mn-ea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9D4E957-BD08-49B6-9E3F-28259C93C2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76506" y="4955577"/>
            <a:ext cx="2740590" cy="1397978"/>
          </a:xfrm>
          <a:prstGeom prst="rect">
            <a:avLst/>
          </a:prstGeom>
        </p:spPr>
      </p:pic>
      <p:pic>
        <p:nvPicPr>
          <p:cNvPr id="23" name="Grafik 11">
            <a:extLst>
              <a:ext uri="{FF2B5EF4-FFF2-40B4-BE49-F238E27FC236}">
                <a16:creationId xmlns:a16="http://schemas.microsoft.com/office/drawing/2014/main" id="{C8E40101-DC21-4462-96D9-ED01AFCE9FB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90871" y="763020"/>
            <a:ext cx="1568403" cy="137870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405E063-F87F-47F4-AAA1-E94FA2DEE124}"/>
              </a:ext>
            </a:extLst>
          </p:cNvPr>
          <p:cNvSpPr txBox="1"/>
          <p:nvPr/>
        </p:nvSpPr>
        <p:spPr>
          <a:xfrm>
            <a:off x="6311556" y="422279"/>
            <a:ext cx="25976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t6A Field Installable Cable </a:t>
            </a:r>
          </a:p>
          <a:p>
            <a:r>
              <a:rPr lang="en-US" dirty="0"/>
              <a:t>Connectors</a:t>
            </a:r>
          </a:p>
          <a:p>
            <a:r>
              <a:rPr lang="en-US" dirty="0"/>
              <a:t>Type 1 and Type II </a:t>
            </a:r>
          </a:p>
        </p:txBody>
      </p:sp>
    </p:spTree>
    <p:extLst>
      <p:ext uri="{BB962C8B-B14F-4D97-AF65-F5344CB8AC3E}">
        <p14:creationId xmlns:p14="http://schemas.microsoft.com/office/powerpoint/2010/main" val="175493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A9892A-D34B-46CE-8DF4-A2660ABCB0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Standardization &amp; Standard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9AADE77-9AF6-4133-B479-40EF28A2B9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60" y="443210"/>
            <a:ext cx="3079277" cy="43313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F4600DD-EB91-4CC8-9329-0D278EE123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0479" y="2077600"/>
            <a:ext cx="2983575" cy="4229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48596E8-CFBF-4F52-B0A4-E3D3D6BFDEAB}"/>
              </a:ext>
            </a:extLst>
          </p:cNvPr>
          <p:cNvSpPr/>
          <p:nvPr/>
        </p:nvSpPr>
        <p:spPr>
          <a:xfrm>
            <a:off x="7116024" y="479422"/>
            <a:ext cx="1213164" cy="2679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3074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7A231B0-E6BD-4636-AB8A-757BD0B8C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-I/O Standar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583AA8-225F-42E8-BC51-7B327832EB9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6000" y="1305687"/>
            <a:ext cx="11160000" cy="4989957"/>
          </a:xfrm>
        </p:spPr>
        <p:txBody>
          <a:bodyPr/>
          <a:lstStyle/>
          <a:p>
            <a:pPr algn="ctr"/>
            <a:r>
              <a:rPr lang="en-US" dirty="0"/>
              <a:t>The IEC61076-3-122 Mini-I/O standard defines two classes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890DA7-219F-4AFE-9C03-E67AD62C28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476" y="2099277"/>
            <a:ext cx="5993892" cy="120529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B379005-D128-418E-BF74-59DA2253E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859" y="3591118"/>
            <a:ext cx="5973509" cy="13093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08BF28-A1D0-4A42-8CC5-BC95F86CAC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859" y="5151264"/>
            <a:ext cx="5973509" cy="113128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22B266-1A90-41B1-B802-ED8C377BB497}"/>
              </a:ext>
            </a:extLst>
          </p:cNvPr>
          <p:cNvSpPr txBox="1"/>
          <p:nvPr/>
        </p:nvSpPr>
        <p:spPr>
          <a:xfrm>
            <a:off x="2683783" y="4847416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hoc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069E60-42AB-4CD2-937A-573D882AC8BD}"/>
              </a:ext>
            </a:extLst>
          </p:cNvPr>
          <p:cNvSpPr txBox="1"/>
          <p:nvPr/>
        </p:nvSpPr>
        <p:spPr>
          <a:xfrm>
            <a:off x="2683783" y="3286074"/>
            <a:ext cx="1091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Vibr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C95791A-74DA-4F3C-B679-BC2AABCF0D65}"/>
              </a:ext>
            </a:extLst>
          </p:cNvPr>
          <p:cNvSpPr txBox="1"/>
          <p:nvPr/>
        </p:nvSpPr>
        <p:spPr>
          <a:xfrm>
            <a:off x="2628135" y="1740332"/>
            <a:ext cx="1569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Voltage Proof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CE1C1D-3CCB-40DC-AD5E-025DDF136AA7}"/>
              </a:ext>
            </a:extLst>
          </p:cNvPr>
          <p:cNvSpPr/>
          <p:nvPr/>
        </p:nvSpPr>
        <p:spPr>
          <a:xfrm>
            <a:off x="6576947" y="2085745"/>
            <a:ext cx="489547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Class B: New performance requirements for frequencies up to 500 MHz in addition to the performance requirements up to 100 MHz provided with the previous edition ED1 </a:t>
            </a:r>
          </a:p>
        </p:txBody>
      </p:sp>
    </p:spTree>
    <p:extLst>
      <p:ext uri="{BB962C8B-B14F-4D97-AF65-F5344CB8AC3E}">
        <p14:creationId xmlns:p14="http://schemas.microsoft.com/office/powerpoint/2010/main" val="24527968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32E88-652A-DA40-9608-892DE5D3BE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ypical Mini-I/O Applic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63D22F-CF41-CD44-9B19-219A763E2D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pic>
        <p:nvPicPr>
          <p:cNvPr id="7" name="Bildplatzhalter 9">
            <a:extLst>
              <a:ext uri="{FF2B5EF4-FFF2-40B4-BE49-F238E27FC236}">
                <a16:creationId xmlns:a16="http://schemas.microsoft.com/office/drawing/2014/main" id="{7890FA08-5876-413C-9174-D978691A2542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20" r="10020"/>
          <a:stretch>
            <a:fillRect/>
          </a:stretch>
        </p:blipFill>
        <p:spPr>
          <a:xfrm>
            <a:off x="4876800" y="0"/>
            <a:ext cx="7315200" cy="6858000"/>
          </a:xfrm>
        </p:spPr>
      </p:pic>
    </p:spTree>
    <p:extLst>
      <p:ext uri="{BB962C8B-B14F-4D97-AF65-F5344CB8AC3E}">
        <p14:creationId xmlns:p14="http://schemas.microsoft.com/office/powerpoint/2010/main" val="8288924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DE38A7-C616-4F07-A950-7ABDBB0386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8348" y="422735"/>
            <a:ext cx="8280000" cy="590706"/>
          </a:xfrm>
        </p:spPr>
        <p:txBody>
          <a:bodyPr/>
          <a:lstStyle/>
          <a:p>
            <a:r>
              <a:rPr lang="en-US" dirty="0"/>
              <a:t>CPS Applications &amp; Connectivity Requirements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CCA5AE25-6219-4863-BFB6-D53172C5E2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1224171"/>
              </p:ext>
            </p:extLst>
          </p:nvPr>
        </p:nvGraphicFramePr>
        <p:xfrm>
          <a:off x="2038350" y="1083951"/>
          <a:ext cx="8279998" cy="4937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20564">
                  <a:extLst>
                    <a:ext uri="{9D8B030D-6E8A-4147-A177-3AD203B41FA5}">
                      <a16:colId xmlns:a16="http://schemas.microsoft.com/office/drawing/2014/main" val="3401391461"/>
                    </a:ext>
                  </a:extLst>
                </a:gridCol>
                <a:gridCol w="1559783">
                  <a:extLst>
                    <a:ext uri="{9D8B030D-6E8A-4147-A177-3AD203B41FA5}">
                      <a16:colId xmlns:a16="http://schemas.microsoft.com/office/drawing/2014/main" val="1616573331"/>
                    </a:ext>
                  </a:extLst>
                </a:gridCol>
                <a:gridCol w="1694247">
                  <a:extLst>
                    <a:ext uri="{9D8B030D-6E8A-4147-A177-3AD203B41FA5}">
                      <a16:colId xmlns:a16="http://schemas.microsoft.com/office/drawing/2014/main" val="3326236029"/>
                    </a:ext>
                  </a:extLst>
                </a:gridCol>
                <a:gridCol w="1849404">
                  <a:extLst>
                    <a:ext uri="{9D8B030D-6E8A-4147-A177-3AD203B41FA5}">
                      <a16:colId xmlns:a16="http://schemas.microsoft.com/office/drawing/2014/main" val="1304010154"/>
                    </a:ext>
                  </a:extLst>
                </a:gridCol>
                <a:gridCol w="1656000">
                  <a:extLst>
                    <a:ext uri="{9D8B030D-6E8A-4147-A177-3AD203B41FA5}">
                      <a16:colId xmlns:a16="http://schemas.microsoft.com/office/drawing/2014/main" val="3099761577"/>
                    </a:ext>
                  </a:extLst>
                </a:gridCol>
              </a:tblGrid>
              <a:tr h="398503"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abi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istributed Peripher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obot &amp; Mach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rive &amp; Mo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0129774"/>
                  </a:ext>
                </a:extLst>
              </a:tr>
              <a:tr h="876707">
                <a:tc>
                  <a:txBody>
                    <a:bodyPr/>
                    <a:lstStyle/>
                    <a:p>
                      <a:endParaRPr lang="en-US" sz="1200" b="1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76581684"/>
                  </a:ext>
                </a:extLst>
              </a:tr>
              <a:tr h="557905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Miniaturized conne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mall slice widths / high packaging dens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ompact devi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imited space inside robots and machin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ompact de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3411757"/>
                  </a:ext>
                </a:extLst>
              </a:tr>
              <a:tr h="398503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P co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P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P20 except near humid processe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P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P20 except near humid processes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0228062"/>
                  </a:ext>
                </a:extLst>
              </a:tr>
              <a:tr h="398503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igh temperatures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Machine cabinets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vices attached to robots or machin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at-generating processes (e.g. weldin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ot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2305174"/>
                  </a:ext>
                </a:extLst>
              </a:tr>
              <a:tr h="557905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esilience vs. shock &amp; vibration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epetitive movements and sudden changes of dir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Periodical rotation and sudden changes of dire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9372564"/>
                  </a:ext>
                </a:extLst>
              </a:tr>
              <a:tr h="557905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esilience vs. </a:t>
                      </a:r>
                      <a:b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</a:br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M noi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kern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lien crosstalk from neighboring cab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otating machinery and wireless communication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7E6E6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Rotating machinery </a:t>
                      </a:r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127534"/>
                  </a:ext>
                </a:extLst>
              </a:tr>
              <a:tr h="557905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Field-</a:t>
                      </a:r>
                      <a:r>
                        <a:rPr lang="pl-PL" sz="1200" b="1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en-US" sz="1200" b="1" noProof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nstallability</a:t>
                      </a:r>
                      <a:endParaRPr lang="en-US" sz="1200" b="1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riable cable lengths</a:t>
                      </a:r>
                      <a:endParaRPr lang="en-US" sz="1200" noProof="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N/A</a:t>
                      </a:r>
                    </a:p>
                    <a:p>
                      <a:pPr algn="ctr"/>
                      <a:r>
                        <a:rPr lang="en-US" sz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(pre-assembled ready-to-install cabl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riable cable lengths</a:t>
                      </a:r>
                      <a:endParaRPr lang="en-US" sz="12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6301759"/>
                  </a:ext>
                </a:extLst>
              </a:tr>
            </a:tbl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B24D3F-5E47-46F6-84E8-15C408E13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414" y="2282531"/>
            <a:ext cx="245588" cy="225501"/>
          </a:xfrm>
        </p:spPr>
        <p:txBody>
          <a:bodyPr/>
          <a:lstStyle/>
          <a:p>
            <a:fld id="{CA431686-8DE2-9B43-980D-29AE692D7900}" type="slidenum">
              <a:rPr lang="en-US" smtClean="0"/>
              <a:t>15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69E7A3D-B6C5-4DAE-BFAA-23B5E4679B4E}"/>
              </a:ext>
            </a:extLst>
          </p:cNvPr>
          <p:cNvSpPr/>
          <p:nvPr/>
        </p:nvSpPr>
        <p:spPr>
          <a:xfrm>
            <a:off x="5171361" y="1598327"/>
            <a:ext cx="1575957" cy="922413"/>
          </a:xfrm>
          <a:prstGeom prst="rect">
            <a:avLst/>
          </a:prstGeom>
          <a:solidFill>
            <a:srgbClr val="DED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endParaRPr lang="en-US" sz="1200" b="1" dirty="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4448D54-B2EF-47D5-885F-09CA2CA7AA4A}"/>
              </a:ext>
            </a:extLst>
          </p:cNvPr>
          <p:cNvGrpSpPr/>
          <p:nvPr/>
        </p:nvGrpSpPr>
        <p:grpSpPr>
          <a:xfrm>
            <a:off x="5286396" y="1637233"/>
            <a:ext cx="1432544" cy="756941"/>
            <a:chOff x="568750" y="3121367"/>
            <a:chExt cx="4963091" cy="227075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43749F0-BB07-452D-A5DE-1E8D721CCC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8754" y="3121367"/>
              <a:ext cx="4963087" cy="2270756"/>
            </a:xfrm>
            <a:prstGeom prst="rect">
              <a:avLst/>
            </a:prstGeom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24A4B77-26AA-4E64-BDD6-2EB6164A4AD9}"/>
                </a:ext>
              </a:extLst>
            </p:cNvPr>
            <p:cNvSpPr/>
            <p:nvPr/>
          </p:nvSpPr>
          <p:spPr>
            <a:xfrm>
              <a:off x="568755" y="4176505"/>
              <a:ext cx="1466852" cy="1215618"/>
            </a:xfrm>
            <a:prstGeom prst="rect">
              <a:avLst/>
            </a:prstGeom>
            <a:solidFill>
              <a:srgbClr val="FFFF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002CC18-54F4-43D2-81AA-0B4141FE7BC3}"/>
                </a:ext>
              </a:extLst>
            </p:cNvPr>
            <p:cNvSpPr/>
            <p:nvPr/>
          </p:nvSpPr>
          <p:spPr>
            <a:xfrm>
              <a:off x="1984809" y="3405541"/>
              <a:ext cx="3547032" cy="1986582"/>
            </a:xfrm>
            <a:prstGeom prst="rect">
              <a:avLst/>
            </a:prstGeom>
            <a:solidFill>
              <a:srgbClr val="FFFF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4A296FD1-CE7D-4BE4-B959-298988AED57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68753" y="4176505"/>
              <a:ext cx="3" cy="1215619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E1711FCF-8D67-428E-8C90-AD45CD8CF4E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8754" y="4176505"/>
              <a:ext cx="1441450" cy="0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70B1760A-3BEF-4E7C-B6C8-14DD82F120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10204" y="3409383"/>
              <a:ext cx="1" cy="770964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5CA01084-77CA-48D6-86C5-B076598AA4D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35602" y="3405541"/>
              <a:ext cx="3496236" cy="0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DFB2708E-6D65-4364-92D4-EE42B4F66E8B}"/>
                </a:ext>
              </a:extLst>
            </p:cNvPr>
            <p:cNvCxnSpPr>
              <a:cxnSpLocks/>
            </p:cNvCxnSpPr>
            <p:nvPr/>
          </p:nvCxnSpPr>
          <p:spPr>
            <a:xfrm>
              <a:off x="5531838" y="3405541"/>
              <a:ext cx="0" cy="1986582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B8081988-46AC-4C9D-87E9-C59CD3CDD82D}"/>
                </a:ext>
              </a:extLst>
            </p:cNvPr>
            <p:cNvCxnSpPr>
              <a:cxnSpLocks/>
            </p:cNvCxnSpPr>
            <p:nvPr/>
          </p:nvCxnSpPr>
          <p:spPr>
            <a:xfrm>
              <a:off x="568750" y="5392123"/>
              <a:ext cx="4957383" cy="0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83976FC2-1F89-4107-85EF-24146A416C24}"/>
                </a:ext>
              </a:extLst>
            </p:cNvPr>
            <p:cNvCxnSpPr>
              <a:cxnSpLocks/>
            </p:cNvCxnSpPr>
            <p:nvPr/>
          </p:nvCxnSpPr>
          <p:spPr>
            <a:xfrm>
              <a:off x="3209979" y="5279164"/>
              <a:ext cx="1936380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4EA13B5-0FD0-4CEF-89A3-3DAC88822EE6}"/>
                </a:ext>
              </a:extLst>
            </p:cNvPr>
            <p:cNvCxnSpPr>
              <a:cxnSpLocks/>
            </p:cNvCxnSpPr>
            <p:nvPr/>
          </p:nvCxnSpPr>
          <p:spPr>
            <a:xfrm>
              <a:off x="4444120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D1D2D976-A0B4-41C6-8F4F-42908B34B444}"/>
                </a:ext>
              </a:extLst>
            </p:cNvPr>
            <p:cNvCxnSpPr>
              <a:cxnSpLocks/>
            </p:cNvCxnSpPr>
            <p:nvPr/>
          </p:nvCxnSpPr>
          <p:spPr>
            <a:xfrm>
              <a:off x="5133095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EB27BE71-BDB8-437A-B056-E50EAAB7E693}"/>
                </a:ext>
              </a:extLst>
            </p:cNvPr>
            <p:cNvCxnSpPr>
              <a:cxnSpLocks/>
            </p:cNvCxnSpPr>
            <p:nvPr/>
          </p:nvCxnSpPr>
          <p:spPr>
            <a:xfrm>
              <a:off x="3568754" y="4315394"/>
              <a:ext cx="0" cy="96377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CB9EF30D-050D-4BD4-A98B-3C3ABB4ACA46}"/>
                </a:ext>
              </a:extLst>
            </p:cNvPr>
            <p:cNvCxnSpPr>
              <a:cxnSpLocks/>
            </p:cNvCxnSpPr>
            <p:nvPr/>
          </p:nvCxnSpPr>
          <p:spPr>
            <a:xfrm>
              <a:off x="4895904" y="4064569"/>
              <a:ext cx="0" cy="1214595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5F34ACB1-4E5A-4D47-BB8D-24C45EA0006B}"/>
                </a:ext>
              </a:extLst>
            </p:cNvPr>
            <p:cNvCxnSpPr/>
            <p:nvPr/>
          </p:nvCxnSpPr>
          <p:spPr>
            <a:xfrm>
              <a:off x="1394256" y="3894490"/>
              <a:ext cx="0" cy="116205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0CDF8CF1-BF53-48DA-AF0C-E783F88A0036}"/>
                </a:ext>
              </a:extLst>
            </p:cNvPr>
            <p:cNvCxnSpPr>
              <a:cxnSpLocks/>
            </p:cNvCxnSpPr>
            <p:nvPr/>
          </p:nvCxnSpPr>
          <p:spPr>
            <a:xfrm>
              <a:off x="1394256" y="5056540"/>
              <a:ext cx="1460500" cy="0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66978DA1-0B95-4505-807E-6A20635A6E12}"/>
                </a:ext>
              </a:extLst>
            </p:cNvPr>
            <p:cNvCxnSpPr>
              <a:cxnSpLocks/>
            </p:cNvCxnSpPr>
            <p:nvPr/>
          </p:nvCxnSpPr>
          <p:spPr>
            <a:xfrm>
              <a:off x="1103276" y="3894490"/>
              <a:ext cx="0" cy="889824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C0115D58-FD57-4FC2-BD86-6F1888A4C7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85874" y="3894490"/>
              <a:ext cx="2" cy="231929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77AC49E7-A140-4508-887D-219EEA99A837}"/>
                </a:ext>
              </a:extLst>
            </p:cNvPr>
            <p:cNvCxnSpPr>
              <a:cxnSpLocks/>
            </p:cNvCxnSpPr>
            <p:nvPr/>
          </p:nvCxnSpPr>
          <p:spPr>
            <a:xfrm>
              <a:off x="1585874" y="4126419"/>
              <a:ext cx="1821332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B297773E-A67A-45E4-8327-149232B69695}"/>
                </a:ext>
              </a:extLst>
            </p:cNvPr>
            <p:cNvCxnSpPr>
              <a:cxnSpLocks/>
            </p:cNvCxnSpPr>
            <p:nvPr/>
          </p:nvCxnSpPr>
          <p:spPr>
            <a:xfrm>
              <a:off x="1103278" y="5279164"/>
              <a:ext cx="2106701" cy="1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4BBBF1DB-2FA5-4474-B778-34B44EB9D9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3276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DC50987-3AA8-4C06-9C5F-5E5318BCEBA1}"/>
                </a:ext>
              </a:extLst>
            </p:cNvPr>
            <p:cNvCxnSpPr>
              <a:cxnSpLocks/>
            </p:cNvCxnSpPr>
            <p:nvPr/>
          </p:nvCxnSpPr>
          <p:spPr>
            <a:xfrm>
              <a:off x="3209979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34B6DEC-AA13-45F4-B71B-7FB63EA6B491}"/>
                </a:ext>
              </a:extLst>
            </p:cNvPr>
            <p:cNvCxnSpPr>
              <a:cxnSpLocks/>
            </p:cNvCxnSpPr>
            <p:nvPr/>
          </p:nvCxnSpPr>
          <p:spPr>
            <a:xfrm>
              <a:off x="3799595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Rechteck 51">
            <a:extLst>
              <a:ext uri="{FF2B5EF4-FFF2-40B4-BE49-F238E27FC236}">
                <a16:creationId xmlns:a16="http://schemas.microsoft.com/office/drawing/2014/main" id="{D64A443C-6EA0-41D0-9095-0F26B36E9FA6}"/>
              </a:ext>
            </a:extLst>
          </p:cNvPr>
          <p:cNvSpPr/>
          <p:nvPr/>
        </p:nvSpPr>
        <p:spPr>
          <a:xfrm>
            <a:off x="8323517" y="4863161"/>
            <a:ext cx="1170889" cy="265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endParaRPr lang="en-US" sz="1200" b="1" dirty="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3575B273-F76C-479A-8495-E99A94D7BCD8}"/>
              </a:ext>
            </a:extLst>
          </p:cNvPr>
          <p:cNvGrpSpPr/>
          <p:nvPr/>
        </p:nvGrpSpPr>
        <p:grpSpPr>
          <a:xfrm>
            <a:off x="8880732" y="1589361"/>
            <a:ext cx="1227347" cy="918670"/>
            <a:chOff x="6742367" y="5292000"/>
            <a:chExt cx="1800000" cy="1476000"/>
          </a:xfrm>
        </p:grpSpPr>
        <p:pic>
          <p:nvPicPr>
            <p:cNvPr id="51" name="Picture 2" descr="https://i.ebayimg.com/images/g/WT0AAOSwVyRXTp6s/s-l1600.jpg">
              <a:extLst>
                <a:ext uri="{FF2B5EF4-FFF2-40B4-BE49-F238E27FC236}">
                  <a16:creationId xmlns:a16="http://schemas.microsoft.com/office/drawing/2014/main" id="{8CF85F0D-8230-47A9-9282-F119D192CD3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95" t="9753" r="8046" b="12825"/>
            <a:stretch/>
          </p:blipFill>
          <p:spPr bwMode="auto">
            <a:xfrm>
              <a:off x="6742367" y="5292000"/>
              <a:ext cx="1800000" cy="147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D70BC62-FBE8-40A4-B09B-49000291F43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48046" y="5667056"/>
              <a:ext cx="378748" cy="1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32BC104B-FBDF-4640-97E1-70CC05101F57}"/>
                </a:ext>
              </a:extLst>
            </p:cNvPr>
            <p:cNvCxnSpPr>
              <a:cxnSpLocks/>
            </p:cNvCxnSpPr>
            <p:nvPr/>
          </p:nvCxnSpPr>
          <p:spPr>
            <a:xfrm>
              <a:off x="6851627" y="5666468"/>
              <a:ext cx="10889" cy="1021621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3F946069-3252-4898-B766-D1F93D0BF5D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26794" y="6686911"/>
              <a:ext cx="555042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3E5B54B7-357C-44C8-ABFE-06FE175F0AE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99518" y="6688089"/>
              <a:ext cx="62998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35222B3F-18B8-4E2E-BF04-46C54E7040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26794" y="6466685"/>
              <a:ext cx="1" cy="220226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AD82701F-1B28-4C4F-99FA-4E15CAB4AC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81837" y="6210650"/>
              <a:ext cx="0" cy="476261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D1787585-441B-4B3E-B21D-6C181682B6A3}"/>
              </a:ext>
            </a:extLst>
          </p:cNvPr>
          <p:cNvGrpSpPr/>
          <p:nvPr/>
        </p:nvGrpSpPr>
        <p:grpSpPr>
          <a:xfrm>
            <a:off x="7353617" y="1589361"/>
            <a:ext cx="1061385" cy="938524"/>
            <a:chOff x="5182960" y="5291298"/>
            <a:chExt cx="1476539" cy="1490502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3F07BA80-6605-49E9-92CB-B475C80DF78F}"/>
                </a:ext>
              </a:extLst>
            </p:cNvPr>
            <p:cNvSpPr/>
            <p:nvPr/>
          </p:nvSpPr>
          <p:spPr>
            <a:xfrm>
              <a:off x="5182960" y="5291298"/>
              <a:ext cx="1476539" cy="1490502"/>
            </a:xfrm>
            <a:prstGeom prst="rect">
              <a:avLst/>
            </a:prstGeom>
            <a:solidFill>
              <a:srgbClr val="CED0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t"/>
            <a:lstStyle/>
            <a:p>
              <a:endParaRPr lang="en-US" sz="1200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pic>
          <p:nvPicPr>
            <p:cNvPr id="70" name="Grafik 69">
              <a:extLst>
                <a:ext uri="{FF2B5EF4-FFF2-40B4-BE49-F238E27FC236}">
                  <a16:creationId xmlns:a16="http://schemas.microsoft.com/office/drawing/2014/main" id="{C258D4F1-0BC1-4573-A1C6-92B9EDA1F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296556" y="5414193"/>
              <a:ext cx="1187212" cy="1324443"/>
            </a:xfrm>
            <a:prstGeom prst="rect">
              <a:avLst/>
            </a:prstGeom>
          </p:spPr>
        </p:pic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B7702FE3-C657-47D9-A636-5C1BF42C797D}"/>
                </a:ext>
              </a:extLst>
            </p:cNvPr>
            <p:cNvCxnSpPr>
              <a:cxnSpLocks/>
            </p:cNvCxnSpPr>
            <p:nvPr/>
          </p:nvCxnSpPr>
          <p:spPr>
            <a:xfrm>
              <a:off x="5528305" y="6560045"/>
              <a:ext cx="0" cy="129265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A5675399-28F6-4189-93C4-3FC870A12B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30186" y="5876896"/>
              <a:ext cx="100417" cy="214826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DCBC1779-2F05-4F19-A7B9-4A1771543AD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96556" y="6689310"/>
              <a:ext cx="231749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C22D2290-B598-4910-B61B-FEDD6151C4A7}"/>
              </a:ext>
            </a:extLst>
          </p:cNvPr>
          <p:cNvGrpSpPr/>
          <p:nvPr/>
        </p:nvGrpSpPr>
        <p:grpSpPr>
          <a:xfrm>
            <a:off x="3761021" y="1594636"/>
            <a:ext cx="1195491" cy="922414"/>
            <a:chOff x="3420875" y="5292000"/>
            <a:chExt cx="1642455" cy="1493543"/>
          </a:xfrm>
        </p:grpSpPr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F186859F-21C2-4011-A3AC-F82204C9D2A6}"/>
                </a:ext>
              </a:extLst>
            </p:cNvPr>
            <p:cNvSpPr/>
            <p:nvPr/>
          </p:nvSpPr>
          <p:spPr>
            <a:xfrm>
              <a:off x="3420875" y="5292000"/>
              <a:ext cx="1642455" cy="1493543"/>
            </a:xfrm>
            <a:prstGeom prst="rect">
              <a:avLst/>
            </a:prstGeom>
            <a:solidFill>
              <a:srgbClr val="DEDD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t"/>
            <a:lstStyle/>
            <a:p>
              <a:endParaRPr lang="en-US" sz="1200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pic>
          <p:nvPicPr>
            <p:cNvPr id="75" name="Grafik 74">
              <a:extLst>
                <a:ext uri="{FF2B5EF4-FFF2-40B4-BE49-F238E27FC236}">
                  <a16:creationId xmlns:a16="http://schemas.microsoft.com/office/drawing/2014/main" id="{4285D25D-8BB7-43FD-B374-5DFAA499D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591118" y="5412426"/>
              <a:ext cx="1317524" cy="1326210"/>
            </a:xfrm>
            <a:prstGeom prst="rect">
              <a:avLst/>
            </a:prstGeom>
          </p:spPr>
        </p:pic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A69524FD-34A3-4598-83D3-EA8F73C37634}"/>
                </a:ext>
              </a:extLst>
            </p:cNvPr>
            <p:cNvCxnSpPr>
              <a:cxnSpLocks/>
            </p:cNvCxnSpPr>
            <p:nvPr/>
          </p:nvCxnSpPr>
          <p:spPr>
            <a:xfrm>
              <a:off x="3891245" y="5716189"/>
              <a:ext cx="0" cy="325985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FC8E86AC-EE8E-4703-A3C5-C385F3323268}"/>
                </a:ext>
              </a:extLst>
            </p:cNvPr>
            <p:cNvCxnSpPr>
              <a:cxnSpLocks/>
            </p:cNvCxnSpPr>
            <p:nvPr/>
          </p:nvCxnSpPr>
          <p:spPr>
            <a:xfrm>
              <a:off x="3856561" y="6325553"/>
              <a:ext cx="0" cy="9635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BCAAB89A-BB1C-4866-BDAE-C9DB59F30EF2}"/>
                </a:ext>
              </a:extLst>
            </p:cNvPr>
            <p:cNvCxnSpPr>
              <a:cxnSpLocks/>
            </p:cNvCxnSpPr>
            <p:nvPr/>
          </p:nvCxnSpPr>
          <p:spPr>
            <a:xfrm>
              <a:off x="3847036" y="6421912"/>
              <a:ext cx="192966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9D0588F8-C4D8-4F6F-BFA4-EDB30F97B832}"/>
                </a:ext>
              </a:extLst>
            </p:cNvPr>
            <p:cNvCxnSpPr>
              <a:cxnSpLocks/>
            </p:cNvCxnSpPr>
            <p:nvPr/>
          </p:nvCxnSpPr>
          <p:spPr>
            <a:xfrm>
              <a:off x="4040002" y="6325552"/>
              <a:ext cx="0" cy="9635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1695E728-314D-4691-A9DD-4685E5DB715B}"/>
                </a:ext>
              </a:extLst>
            </p:cNvPr>
            <p:cNvCxnSpPr>
              <a:cxnSpLocks/>
            </p:cNvCxnSpPr>
            <p:nvPr/>
          </p:nvCxnSpPr>
          <p:spPr>
            <a:xfrm>
              <a:off x="4218270" y="5965483"/>
              <a:ext cx="0" cy="76691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FA2649AB-B089-4918-8381-9B7A1AEFEDCE}"/>
                </a:ext>
              </a:extLst>
            </p:cNvPr>
            <p:cNvCxnSpPr>
              <a:cxnSpLocks/>
            </p:cNvCxnSpPr>
            <p:nvPr/>
          </p:nvCxnSpPr>
          <p:spPr>
            <a:xfrm>
              <a:off x="4034340" y="5769961"/>
              <a:ext cx="0" cy="195522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4BF5D0C5-C7AA-4E4F-815C-339E58775FFC}"/>
                </a:ext>
              </a:extLst>
            </p:cNvPr>
            <p:cNvCxnSpPr>
              <a:cxnSpLocks/>
            </p:cNvCxnSpPr>
            <p:nvPr/>
          </p:nvCxnSpPr>
          <p:spPr>
            <a:xfrm>
              <a:off x="4028236" y="5965485"/>
              <a:ext cx="190034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18466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9BAAC0-C64F-46CE-85A4-1213281DBF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8348" y="448236"/>
            <a:ext cx="8280000" cy="798291"/>
          </a:xfrm>
        </p:spPr>
        <p:txBody>
          <a:bodyPr/>
          <a:lstStyle/>
          <a:p>
            <a:r>
              <a:rPr lang="en-US" dirty="0"/>
              <a:t>Mini-IO Application Areas &amp; Use Cases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80B2F44C-FC8C-4527-A841-ECDA337DEA5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396923" y="1648480"/>
          <a:ext cx="7562850" cy="24942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60475">
                  <a:extLst>
                    <a:ext uri="{9D8B030D-6E8A-4147-A177-3AD203B41FA5}">
                      <a16:colId xmlns:a16="http://schemas.microsoft.com/office/drawing/2014/main" val="3926342197"/>
                    </a:ext>
                  </a:extLst>
                </a:gridCol>
                <a:gridCol w="1260475">
                  <a:extLst>
                    <a:ext uri="{9D8B030D-6E8A-4147-A177-3AD203B41FA5}">
                      <a16:colId xmlns:a16="http://schemas.microsoft.com/office/drawing/2014/main" val="1028209431"/>
                    </a:ext>
                  </a:extLst>
                </a:gridCol>
                <a:gridCol w="1260475">
                  <a:extLst>
                    <a:ext uri="{9D8B030D-6E8A-4147-A177-3AD203B41FA5}">
                      <a16:colId xmlns:a16="http://schemas.microsoft.com/office/drawing/2014/main" val="3475713848"/>
                    </a:ext>
                  </a:extLst>
                </a:gridCol>
                <a:gridCol w="1260475">
                  <a:extLst>
                    <a:ext uri="{9D8B030D-6E8A-4147-A177-3AD203B41FA5}">
                      <a16:colId xmlns:a16="http://schemas.microsoft.com/office/drawing/2014/main" val="1349423280"/>
                    </a:ext>
                  </a:extLst>
                </a:gridCol>
                <a:gridCol w="1260475">
                  <a:extLst>
                    <a:ext uri="{9D8B030D-6E8A-4147-A177-3AD203B41FA5}">
                      <a16:colId xmlns:a16="http://schemas.microsoft.com/office/drawing/2014/main" val="2055626638"/>
                    </a:ext>
                  </a:extLst>
                </a:gridCol>
                <a:gridCol w="1260475">
                  <a:extLst>
                    <a:ext uri="{9D8B030D-6E8A-4147-A177-3AD203B41FA5}">
                      <a16:colId xmlns:a16="http://schemas.microsoft.com/office/drawing/2014/main" val="33745608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/>
                        <a:t>General Discrete 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/>
                        <a:t>Automative 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/>
                        <a:t>Process Indus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/>
                        <a:t>Energy Generation Facil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/>
                        <a:t>R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0941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/>
                        <a:t>Backb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5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/>
                        <a:t>M2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5021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/>
                        <a:t>Cabi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3369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/>
                        <a:t>Fi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44866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/>
                        <a:t>I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835921"/>
                  </a:ext>
                </a:extLst>
              </a:tr>
            </a:tbl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C0666C-E49D-45A2-BE2B-6E2312CB3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16</a:t>
            </a:fld>
            <a:endParaRPr lang="en-US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15BA67F-65EC-496C-AB8B-D629C1F32793}"/>
              </a:ext>
            </a:extLst>
          </p:cNvPr>
          <p:cNvSpPr txBox="1"/>
          <p:nvPr/>
        </p:nvSpPr>
        <p:spPr>
          <a:xfrm>
            <a:off x="5576047" y="1340704"/>
            <a:ext cx="16992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bg2">
                    <a:lumMod val="10000"/>
                  </a:schemeClr>
                </a:solidFill>
              </a:rPr>
              <a:t>Application Areas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73B8EAE-BD52-4E56-9AEB-8B432A346F61}"/>
              </a:ext>
            </a:extLst>
          </p:cNvPr>
          <p:cNvSpPr txBox="1"/>
          <p:nvPr/>
        </p:nvSpPr>
        <p:spPr>
          <a:xfrm rot="16200000">
            <a:off x="2740773" y="5493351"/>
            <a:ext cx="10903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2">
                    <a:lumMod val="10000"/>
                  </a:schemeClr>
                </a:solidFill>
              </a:rPr>
              <a:t>Use Case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4953A47-F9AD-4459-9CE1-796DBCD46589}"/>
              </a:ext>
            </a:extLst>
          </p:cNvPr>
          <p:cNvSpPr/>
          <p:nvPr/>
        </p:nvSpPr>
        <p:spPr>
          <a:xfrm>
            <a:off x="3657600" y="2655512"/>
            <a:ext cx="3747247" cy="754998"/>
          </a:xfrm>
          <a:prstGeom prst="rect">
            <a:avLst/>
          </a:prstGeom>
          <a:noFill/>
          <a:ln w="38100">
            <a:solidFill>
              <a:srgbClr val="E98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85E0F3F-7311-44F0-A0F0-00560EE2AAEB}"/>
              </a:ext>
            </a:extLst>
          </p:cNvPr>
          <p:cNvSpPr/>
          <p:nvPr/>
        </p:nvSpPr>
        <p:spPr>
          <a:xfrm>
            <a:off x="4081836" y="2720229"/>
            <a:ext cx="2790261" cy="623047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ini-IO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application area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23F0856-A94C-4180-8F82-A0B9EF17F60D}"/>
              </a:ext>
            </a:extLst>
          </p:cNvPr>
          <p:cNvSpPr/>
          <p:nvPr/>
        </p:nvSpPr>
        <p:spPr>
          <a:xfrm>
            <a:off x="2036141" y="4319117"/>
            <a:ext cx="8252082" cy="1822446"/>
          </a:xfrm>
          <a:prstGeom prst="rect">
            <a:avLst/>
          </a:prstGeom>
          <a:noFill/>
          <a:ln w="38100">
            <a:solidFill>
              <a:srgbClr val="E98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773F4A0-5AE6-41E8-ABBB-A993400FEA28}"/>
              </a:ext>
            </a:extLst>
          </p:cNvPr>
          <p:cNvSpPr/>
          <p:nvPr/>
        </p:nvSpPr>
        <p:spPr>
          <a:xfrm>
            <a:off x="3928567" y="4389628"/>
            <a:ext cx="2739538" cy="1679479"/>
          </a:xfrm>
          <a:prstGeom prst="rect">
            <a:avLst/>
          </a:prstGeom>
          <a:solidFill>
            <a:srgbClr val="DED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n-US" sz="1200" b="1" dirty="0">
                <a:solidFill>
                  <a:schemeClr val="bg2">
                    <a:lumMod val="10000"/>
                  </a:schemeClr>
                </a:solidFill>
              </a:rPr>
              <a:t>Distributed Peripherals</a:t>
            </a: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0C025768-CD74-4C47-BDB8-90B2E47D540E}"/>
              </a:ext>
            </a:extLst>
          </p:cNvPr>
          <p:cNvGrpSpPr/>
          <p:nvPr/>
        </p:nvGrpSpPr>
        <p:grpSpPr>
          <a:xfrm>
            <a:off x="3998778" y="4636241"/>
            <a:ext cx="2490238" cy="1225615"/>
            <a:chOff x="568750" y="3121367"/>
            <a:chExt cx="4963091" cy="2270757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56247127-D33B-4F70-B228-8549FB6B1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8754" y="3121367"/>
              <a:ext cx="4963087" cy="2270756"/>
            </a:xfrm>
            <a:prstGeom prst="rect">
              <a:avLst/>
            </a:prstGeom>
          </p:spPr>
        </p:pic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F6917AE-6A80-43B4-B91E-061BB9329C89}"/>
                </a:ext>
              </a:extLst>
            </p:cNvPr>
            <p:cNvSpPr/>
            <p:nvPr/>
          </p:nvSpPr>
          <p:spPr>
            <a:xfrm>
              <a:off x="568755" y="4176505"/>
              <a:ext cx="1466852" cy="1215618"/>
            </a:xfrm>
            <a:prstGeom prst="rect">
              <a:avLst/>
            </a:prstGeom>
            <a:solidFill>
              <a:srgbClr val="FFFF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8F2F2BD6-F55D-4AAD-A141-091F3C2F45C7}"/>
                </a:ext>
              </a:extLst>
            </p:cNvPr>
            <p:cNvSpPr/>
            <p:nvPr/>
          </p:nvSpPr>
          <p:spPr>
            <a:xfrm>
              <a:off x="1984809" y="3405541"/>
              <a:ext cx="3547032" cy="1986582"/>
            </a:xfrm>
            <a:prstGeom prst="rect">
              <a:avLst/>
            </a:prstGeom>
            <a:solidFill>
              <a:srgbClr val="FFFF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AE24CFC3-75FE-42E5-B638-6EEDD83B3E2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68753" y="4176505"/>
              <a:ext cx="3" cy="1215619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948BA6F2-FA8F-412F-A434-C272F78BCB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8754" y="4176505"/>
              <a:ext cx="1441450" cy="0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B59FECE-9721-4D34-934E-B40AD99906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10204" y="3409383"/>
              <a:ext cx="1" cy="770964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26F4878D-5780-4104-A3FD-8205BA19F1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35602" y="3405541"/>
              <a:ext cx="3496236" cy="0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9A7181D-8A20-4FB2-BF04-1AAF0DFA1DC7}"/>
                </a:ext>
              </a:extLst>
            </p:cNvPr>
            <p:cNvCxnSpPr>
              <a:cxnSpLocks/>
            </p:cNvCxnSpPr>
            <p:nvPr/>
          </p:nvCxnSpPr>
          <p:spPr>
            <a:xfrm>
              <a:off x="5531838" y="3405541"/>
              <a:ext cx="0" cy="1986582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00F41F8-25F9-426A-9D10-423469E1BAD6}"/>
                </a:ext>
              </a:extLst>
            </p:cNvPr>
            <p:cNvCxnSpPr>
              <a:cxnSpLocks/>
            </p:cNvCxnSpPr>
            <p:nvPr/>
          </p:nvCxnSpPr>
          <p:spPr>
            <a:xfrm>
              <a:off x="568750" y="5392123"/>
              <a:ext cx="4957383" cy="0"/>
            </a:xfrm>
            <a:prstGeom prst="line">
              <a:avLst/>
            </a:prstGeom>
            <a:ln w="25400">
              <a:solidFill>
                <a:schemeClr val="bg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3F2951CF-8648-471C-9D4B-33BD98B6E25B}"/>
                </a:ext>
              </a:extLst>
            </p:cNvPr>
            <p:cNvCxnSpPr>
              <a:cxnSpLocks/>
            </p:cNvCxnSpPr>
            <p:nvPr/>
          </p:nvCxnSpPr>
          <p:spPr>
            <a:xfrm>
              <a:off x="3209979" y="5279164"/>
              <a:ext cx="1936380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CDB17B5-98CE-4735-8D1B-2FF1CA738514}"/>
                </a:ext>
              </a:extLst>
            </p:cNvPr>
            <p:cNvCxnSpPr>
              <a:cxnSpLocks/>
            </p:cNvCxnSpPr>
            <p:nvPr/>
          </p:nvCxnSpPr>
          <p:spPr>
            <a:xfrm>
              <a:off x="4444120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CE016D5-5A16-49C3-B6DD-AEB4FEFA5D03}"/>
                </a:ext>
              </a:extLst>
            </p:cNvPr>
            <p:cNvCxnSpPr>
              <a:cxnSpLocks/>
            </p:cNvCxnSpPr>
            <p:nvPr/>
          </p:nvCxnSpPr>
          <p:spPr>
            <a:xfrm>
              <a:off x="5133095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7FA2FC53-2104-4234-B983-29F86458118B}"/>
                </a:ext>
              </a:extLst>
            </p:cNvPr>
            <p:cNvCxnSpPr>
              <a:cxnSpLocks/>
            </p:cNvCxnSpPr>
            <p:nvPr/>
          </p:nvCxnSpPr>
          <p:spPr>
            <a:xfrm>
              <a:off x="3568754" y="4315394"/>
              <a:ext cx="0" cy="96377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B33F289-FA60-4161-9BFE-5AF4910E63C8}"/>
                </a:ext>
              </a:extLst>
            </p:cNvPr>
            <p:cNvCxnSpPr>
              <a:cxnSpLocks/>
            </p:cNvCxnSpPr>
            <p:nvPr/>
          </p:nvCxnSpPr>
          <p:spPr>
            <a:xfrm>
              <a:off x="4895904" y="4064569"/>
              <a:ext cx="0" cy="1214595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94C4ED69-468C-432C-A1BD-18BBB0D9A941}"/>
                </a:ext>
              </a:extLst>
            </p:cNvPr>
            <p:cNvCxnSpPr/>
            <p:nvPr/>
          </p:nvCxnSpPr>
          <p:spPr>
            <a:xfrm>
              <a:off x="1394256" y="3894490"/>
              <a:ext cx="0" cy="116205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CBD2978A-EA6B-4AAF-AFAE-E66DBE46ACBE}"/>
                </a:ext>
              </a:extLst>
            </p:cNvPr>
            <p:cNvCxnSpPr>
              <a:cxnSpLocks/>
            </p:cNvCxnSpPr>
            <p:nvPr/>
          </p:nvCxnSpPr>
          <p:spPr>
            <a:xfrm>
              <a:off x="1394256" y="5056540"/>
              <a:ext cx="1460500" cy="0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55D9499E-6DE9-4A30-8F17-90AF2F95E071}"/>
                </a:ext>
              </a:extLst>
            </p:cNvPr>
            <p:cNvCxnSpPr>
              <a:cxnSpLocks/>
            </p:cNvCxnSpPr>
            <p:nvPr/>
          </p:nvCxnSpPr>
          <p:spPr>
            <a:xfrm>
              <a:off x="1103276" y="3894490"/>
              <a:ext cx="0" cy="889824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BA3F4EC4-AA67-42A8-9CE7-3464B47918B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85874" y="3894490"/>
              <a:ext cx="2" cy="231929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4F533F3A-26DF-47C1-BE3B-147D05F002A4}"/>
                </a:ext>
              </a:extLst>
            </p:cNvPr>
            <p:cNvCxnSpPr>
              <a:cxnSpLocks/>
            </p:cNvCxnSpPr>
            <p:nvPr/>
          </p:nvCxnSpPr>
          <p:spPr>
            <a:xfrm>
              <a:off x="1585874" y="4126419"/>
              <a:ext cx="1821332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8C960002-00DB-4E4B-947A-726FD5BA1543}"/>
                </a:ext>
              </a:extLst>
            </p:cNvPr>
            <p:cNvCxnSpPr>
              <a:cxnSpLocks/>
            </p:cNvCxnSpPr>
            <p:nvPr/>
          </p:nvCxnSpPr>
          <p:spPr>
            <a:xfrm>
              <a:off x="1103278" y="5279164"/>
              <a:ext cx="2106701" cy="1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525D707A-4613-438F-A247-F9A3082816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3276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D6CBAF3E-3DAF-4814-B29F-87344DA14949}"/>
                </a:ext>
              </a:extLst>
            </p:cNvPr>
            <p:cNvCxnSpPr>
              <a:cxnSpLocks/>
            </p:cNvCxnSpPr>
            <p:nvPr/>
          </p:nvCxnSpPr>
          <p:spPr>
            <a:xfrm>
              <a:off x="3209979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6B05D77E-BCEC-4979-9049-603FAFC26248}"/>
                </a:ext>
              </a:extLst>
            </p:cNvPr>
            <p:cNvCxnSpPr>
              <a:cxnSpLocks/>
            </p:cNvCxnSpPr>
            <p:nvPr/>
          </p:nvCxnSpPr>
          <p:spPr>
            <a:xfrm>
              <a:off x="3799595" y="5185344"/>
              <a:ext cx="0" cy="9382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A4233A34-9577-4145-A397-F9BA21705F4F}"/>
              </a:ext>
            </a:extLst>
          </p:cNvPr>
          <p:cNvSpPr txBox="1"/>
          <p:nvPr/>
        </p:nvSpPr>
        <p:spPr>
          <a:xfrm>
            <a:off x="5435607" y="5853369"/>
            <a:ext cx="11560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Source: Siemens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D5376FB9-A5A2-4E58-9CEC-AA501059F300}"/>
              </a:ext>
            </a:extLst>
          </p:cNvPr>
          <p:cNvCxnSpPr>
            <a:cxnSpLocks/>
            <a:stCxn id="9" idx="2"/>
            <a:endCxn id="38" idx="0"/>
          </p:cNvCxnSpPr>
          <p:nvPr/>
        </p:nvCxnSpPr>
        <p:spPr>
          <a:xfrm>
            <a:off x="5531224" y="3410511"/>
            <a:ext cx="630959" cy="90860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DE00FE62-6F08-48EC-95F7-5E905BB500E7}"/>
              </a:ext>
            </a:extLst>
          </p:cNvPr>
          <p:cNvSpPr/>
          <p:nvPr/>
        </p:nvSpPr>
        <p:spPr>
          <a:xfrm>
            <a:off x="2188019" y="4389628"/>
            <a:ext cx="1642455" cy="1679479"/>
          </a:xfrm>
          <a:prstGeom prst="rect">
            <a:avLst/>
          </a:prstGeom>
          <a:solidFill>
            <a:srgbClr val="DED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n-US" sz="1200" b="1" dirty="0">
                <a:solidFill>
                  <a:schemeClr val="bg2">
                    <a:lumMod val="10000"/>
                  </a:schemeClr>
                </a:solidFill>
              </a:rPr>
              <a:t>Cabinet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2A50BAE4-6227-4B39-86F1-4093649C84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9078" y="4742896"/>
            <a:ext cx="1317524" cy="1326210"/>
          </a:xfrm>
          <a:prstGeom prst="rect">
            <a:avLst/>
          </a:prstGeom>
        </p:spPr>
      </p:pic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7FB17C4B-BCE2-44D1-935A-57935F858AA8}"/>
              </a:ext>
            </a:extLst>
          </p:cNvPr>
          <p:cNvCxnSpPr>
            <a:cxnSpLocks/>
          </p:cNvCxnSpPr>
          <p:nvPr/>
        </p:nvCxnSpPr>
        <p:spPr>
          <a:xfrm>
            <a:off x="2658388" y="4999753"/>
            <a:ext cx="0" cy="32598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E666BA21-2A88-40BC-A688-0A6AB5745CBC}"/>
              </a:ext>
            </a:extLst>
          </p:cNvPr>
          <p:cNvCxnSpPr>
            <a:cxnSpLocks/>
          </p:cNvCxnSpPr>
          <p:nvPr/>
        </p:nvCxnSpPr>
        <p:spPr>
          <a:xfrm>
            <a:off x="2623704" y="5609117"/>
            <a:ext cx="0" cy="9635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85AF2DD7-2DF6-4C20-A3D4-04CBD7D55764}"/>
              </a:ext>
            </a:extLst>
          </p:cNvPr>
          <p:cNvCxnSpPr>
            <a:cxnSpLocks/>
          </p:cNvCxnSpPr>
          <p:nvPr/>
        </p:nvCxnSpPr>
        <p:spPr>
          <a:xfrm>
            <a:off x="2614179" y="5705475"/>
            <a:ext cx="192966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C2E7523-0FED-4D83-A758-FE7E4B7D2B7D}"/>
              </a:ext>
            </a:extLst>
          </p:cNvPr>
          <p:cNvCxnSpPr>
            <a:cxnSpLocks/>
          </p:cNvCxnSpPr>
          <p:nvPr/>
        </p:nvCxnSpPr>
        <p:spPr>
          <a:xfrm>
            <a:off x="2807145" y="5609116"/>
            <a:ext cx="0" cy="9635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4E4EDA04-96D7-4D42-9E12-3F288A9735F2}"/>
              </a:ext>
            </a:extLst>
          </p:cNvPr>
          <p:cNvCxnSpPr>
            <a:cxnSpLocks/>
          </p:cNvCxnSpPr>
          <p:nvPr/>
        </p:nvCxnSpPr>
        <p:spPr>
          <a:xfrm>
            <a:off x="2985413" y="5249047"/>
            <a:ext cx="0" cy="7669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9D375165-4B35-4CD6-AA37-120757E959FA}"/>
              </a:ext>
            </a:extLst>
          </p:cNvPr>
          <p:cNvCxnSpPr>
            <a:cxnSpLocks/>
          </p:cNvCxnSpPr>
          <p:nvPr/>
        </p:nvCxnSpPr>
        <p:spPr>
          <a:xfrm>
            <a:off x="2801483" y="5053524"/>
            <a:ext cx="0" cy="19552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87A2C697-2DC1-4AB7-8E98-8BE14553ED52}"/>
              </a:ext>
            </a:extLst>
          </p:cNvPr>
          <p:cNvCxnSpPr>
            <a:cxnSpLocks/>
          </p:cNvCxnSpPr>
          <p:nvPr/>
        </p:nvCxnSpPr>
        <p:spPr>
          <a:xfrm>
            <a:off x="2795379" y="5249048"/>
            <a:ext cx="19003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>
            <a:extLst>
              <a:ext uri="{FF2B5EF4-FFF2-40B4-BE49-F238E27FC236}">
                <a16:creationId xmlns:a16="http://schemas.microsoft.com/office/drawing/2014/main" id="{3D90DF8C-D2BD-45CA-B530-3CCC322F4E67}"/>
              </a:ext>
            </a:extLst>
          </p:cNvPr>
          <p:cNvSpPr/>
          <p:nvPr/>
        </p:nvSpPr>
        <p:spPr>
          <a:xfrm>
            <a:off x="6758501" y="4389628"/>
            <a:ext cx="1476539" cy="1679479"/>
          </a:xfrm>
          <a:prstGeom prst="rect">
            <a:avLst/>
          </a:prstGeom>
          <a:solidFill>
            <a:srgbClr val="CED0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n-US" sz="1200" b="1" dirty="0">
                <a:solidFill>
                  <a:schemeClr val="bg2">
                    <a:lumMod val="10000"/>
                  </a:schemeClr>
                </a:solidFill>
              </a:rPr>
              <a:t>Robot &amp; Machine</a:t>
            </a:r>
          </a:p>
        </p:txBody>
      </p:sp>
      <p:pic>
        <p:nvPicPr>
          <p:cNvPr id="81" name="Grafik 80">
            <a:extLst>
              <a:ext uri="{FF2B5EF4-FFF2-40B4-BE49-F238E27FC236}">
                <a16:creationId xmlns:a16="http://schemas.microsoft.com/office/drawing/2014/main" id="{B5BCBDBA-757C-45F0-A9E3-0937FCA0E52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872096" y="4716003"/>
            <a:ext cx="1187212" cy="1324443"/>
          </a:xfrm>
          <a:prstGeom prst="rect">
            <a:avLst/>
          </a:prstGeom>
        </p:spPr>
      </p:pic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52973873-DD69-4CC7-84B5-78119FC5E6AB}"/>
              </a:ext>
            </a:extLst>
          </p:cNvPr>
          <p:cNvCxnSpPr>
            <a:cxnSpLocks/>
          </p:cNvCxnSpPr>
          <p:nvPr/>
        </p:nvCxnSpPr>
        <p:spPr>
          <a:xfrm>
            <a:off x="7219950" y="5719228"/>
            <a:ext cx="44014" cy="25124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0F0FFA5-3C5D-4C7B-AE03-8587420B0D6D}"/>
              </a:ext>
            </a:extLst>
          </p:cNvPr>
          <p:cNvCxnSpPr>
            <a:cxnSpLocks/>
          </p:cNvCxnSpPr>
          <p:nvPr/>
        </p:nvCxnSpPr>
        <p:spPr>
          <a:xfrm flipH="1">
            <a:off x="7791451" y="5145322"/>
            <a:ext cx="52389" cy="13538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s://i.ebayimg.com/images/g/WT0AAOSwVyRXTp6s/s-l1600.jpg">
            <a:extLst>
              <a:ext uri="{FF2B5EF4-FFF2-40B4-BE49-F238E27FC236}">
                <a16:creationId xmlns:a16="http://schemas.microsoft.com/office/drawing/2014/main" id="{A05CAD00-4C89-44B1-B063-08975EDAEB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5" t="-11204" r="8046" b="13007"/>
          <a:stretch/>
        </p:blipFill>
        <p:spPr bwMode="auto">
          <a:xfrm>
            <a:off x="8332549" y="4176000"/>
            <a:ext cx="1800000" cy="18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Rechteck 106">
            <a:extLst>
              <a:ext uri="{FF2B5EF4-FFF2-40B4-BE49-F238E27FC236}">
                <a16:creationId xmlns:a16="http://schemas.microsoft.com/office/drawing/2014/main" id="{1FB7A9C2-784B-4ACF-A249-247F54605280}"/>
              </a:ext>
            </a:extLst>
          </p:cNvPr>
          <p:cNvSpPr/>
          <p:nvPr/>
        </p:nvSpPr>
        <p:spPr>
          <a:xfrm>
            <a:off x="8389699" y="4379809"/>
            <a:ext cx="1170889" cy="265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n-US" sz="1200" b="1" dirty="0">
                <a:solidFill>
                  <a:schemeClr val="bg2">
                    <a:lumMod val="10000"/>
                  </a:schemeClr>
                </a:solidFill>
              </a:rPr>
              <a:t>Drive &amp; Motor</a:t>
            </a: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ACF2C5C4-378A-47B6-9770-3BC415CDA4F3}"/>
              </a:ext>
            </a:extLst>
          </p:cNvPr>
          <p:cNvCxnSpPr>
            <a:cxnSpLocks/>
          </p:cNvCxnSpPr>
          <p:nvPr/>
        </p:nvCxnSpPr>
        <p:spPr>
          <a:xfrm flipH="1" flipV="1">
            <a:off x="8438228" y="4950620"/>
            <a:ext cx="378748" cy="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E72A6861-1FEC-4825-827A-4FC9431DC6BE}"/>
              </a:ext>
            </a:extLst>
          </p:cNvPr>
          <p:cNvCxnSpPr>
            <a:cxnSpLocks/>
          </p:cNvCxnSpPr>
          <p:nvPr/>
        </p:nvCxnSpPr>
        <p:spPr>
          <a:xfrm>
            <a:off x="8441810" y="4950032"/>
            <a:ext cx="10889" cy="102162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E8D9EB1A-3DB9-40B2-8F78-8ECB9A1C27EA}"/>
              </a:ext>
            </a:extLst>
          </p:cNvPr>
          <p:cNvCxnSpPr>
            <a:cxnSpLocks/>
          </p:cNvCxnSpPr>
          <p:nvPr/>
        </p:nvCxnSpPr>
        <p:spPr>
          <a:xfrm flipH="1">
            <a:off x="8816976" y="5970474"/>
            <a:ext cx="55504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0CB671D2-7262-426A-852B-9DAFD3A135E5}"/>
              </a:ext>
            </a:extLst>
          </p:cNvPr>
          <p:cNvCxnSpPr>
            <a:cxnSpLocks/>
          </p:cNvCxnSpPr>
          <p:nvPr/>
        </p:nvCxnSpPr>
        <p:spPr>
          <a:xfrm flipH="1">
            <a:off x="8389700" y="5971652"/>
            <a:ext cx="6299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FC4C523F-7C84-4235-BC12-2EBD145F23A8}"/>
              </a:ext>
            </a:extLst>
          </p:cNvPr>
          <p:cNvCxnSpPr>
            <a:cxnSpLocks/>
          </p:cNvCxnSpPr>
          <p:nvPr/>
        </p:nvCxnSpPr>
        <p:spPr>
          <a:xfrm flipV="1">
            <a:off x="8816977" y="5750248"/>
            <a:ext cx="1" cy="22022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r Verbinder 140">
            <a:extLst>
              <a:ext uri="{FF2B5EF4-FFF2-40B4-BE49-F238E27FC236}">
                <a16:creationId xmlns:a16="http://schemas.microsoft.com/office/drawing/2014/main" id="{50038B3D-73E5-447A-A18B-2B066AE73DD7}"/>
              </a:ext>
            </a:extLst>
          </p:cNvPr>
          <p:cNvCxnSpPr>
            <a:cxnSpLocks/>
          </p:cNvCxnSpPr>
          <p:nvPr/>
        </p:nvCxnSpPr>
        <p:spPr>
          <a:xfrm flipV="1">
            <a:off x="9372019" y="5494214"/>
            <a:ext cx="0" cy="47626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feld 144">
            <a:extLst>
              <a:ext uri="{FF2B5EF4-FFF2-40B4-BE49-F238E27FC236}">
                <a16:creationId xmlns:a16="http://schemas.microsoft.com/office/drawing/2014/main" id="{03C9E33E-333F-4F4C-9C40-B9412A25E644}"/>
              </a:ext>
            </a:extLst>
          </p:cNvPr>
          <p:cNvSpPr txBox="1"/>
          <p:nvPr/>
        </p:nvSpPr>
        <p:spPr>
          <a:xfrm rot="16200000">
            <a:off x="9447511" y="4816586"/>
            <a:ext cx="11769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Source: Yaskawa</a:t>
            </a: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E4F4510D-830C-4ECA-9BFE-524C4869B124}"/>
              </a:ext>
            </a:extLst>
          </p:cNvPr>
          <p:cNvCxnSpPr>
            <a:cxnSpLocks/>
          </p:cNvCxnSpPr>
          <p:nvPr/>
        </p:nvCxnSpPr>
        <p:spPr>
          <a:xfrm>
            <a:off x="7177088" y="5457826"/>
            <a:ext cx="42862" cy="26140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r Verbinder 167">
            <a:extLst>
              <a:ext uri="{FF2B5EF4-FFF2-40B4-BE49-F238E27FC236}">
                <a16:creationId xmlns:a16="http://schemas.microsoft.com/office/drawing/2014/main" id="{B1EA8E9A-16A7-42F2-ABCB-70E55DD17091}"/>
              </a:ext>
            </a:extLst>
          </p:cNvPr>
          <p:cNvCxnSpPr>
            <a:cxnSpLocks/>
          </p:cNvCxnSpPr>
          <p:nvPr/>
        </p:nvCxnSpPr>
        <p:spPr>
          <a:xfrm flipV="1">
            <a:off x="7177089" y="5393531"/>
            <a:ext cx="161925" cy="6429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33015B46-0D8E-44F3-98D1-DFBB48A3E533}"/>
              </a:ext>
            </a:extLst>
          </p:cNvPr>
          <p:cNvCxnSpPr>
            <a:cxnSpLocks/>
          </p:cNvCxnSpPr>
          <p:nvPr/>
        </p:nvCxnSpPr>
        <p:spPr>
          <a:xfrm>
            <a:off x="7339013" y="5178705"/>
            <a:ext cx="0" cy="21482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A5C1A3A7-DCB7-47D0-9C69-6065FF121888}"/>
              </a:ext>
            </a:extLst>
          </p:cNvPr>
          <p:cNvCxnSpPr>
            <a:cxnSpLocks/>
          </p:cNvCxnSpPr>
          <p:nvPr/>
        </p:nvCxnSpPr>
        <p:spPr>
          <a:xfrm flipV="1">
            <a:off x="7339014" y="4950031"/>
            <a:ext cx="142875" cy="22867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E9DB6CB9-CBDE-4C09-9274-D4E257571D4D}"/>
              </a:ext>
            </a:extLst>
          </p:cNvPr>
          <p:cNvCxnSpPr>
            <a:cxnSpLocks/>
          </p:cNvCxnSpPr>
          <p:nvPr/>
        </p:nvCxnSpPr>
        <p:spPr>
          <a:xfrm flipH="1" flipV="1">
            <a:off x="7481890" y="4950032"/>
            <a:ext cx="361949" cy="19529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56050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76398-65C1-4457-BBB2-90DCB8B28F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Field Installable Cable Connector</a:t>
            </a:r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F202DB-DA28-4CA3-AA56-7958D445FFEA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0"/>
            <a:ext cx="7315200" cy="6857999"/>
          </a:xfrm>
        </p:spPr>
      </p:pic>
    </p:spTree>
    <p:extLst>
      <p:ext uri="{BB962C8B-B14F-4D97-AF65-F5344CB8AC3E}">
        <p14:creationId xmlns:p14="http://schemas.microsoft.com/office/powerpoint/2010/main" val="39063324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FDE9023-781E-4795-AC79-DAFF445BD2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, Advantages, Benefi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DC17F9-87C3-4821-9DA3-39FD6D80FE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0022" y="1494662"/>
            <a:ext cx="9072394" cy="443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5133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5EA9E-FC1F-436D-9AB0-81EEDC41A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-I/O FI Part Numb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5F2593-4A99-4518-B15F-E66F2D7C7B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7EB2E6-5225-4C7F-9B1B-8756EE4FCB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71567"/>
            <a:ext cx="12192000" cy="4514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003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2231B-D628-814F-AA77-C4A1D0B6E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28538-C04A-1440-9C9C-F5B70A69D4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036ECD4-48E1-354A-BE42-46BAC5C6D0F2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800" dirty="0"/>
              <a:t>Introduction to Mini-I/O</a:t>
            </a:r>
            <a:endParaRPr lang="de-DE" sz="180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sz="1800" dirty="0"/>
              <a:t>Standardization &amp; Standards</a:t>
            </a:r>
            <a:endParaRPr lang="de-DE" sz="180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sz="1800" dirty="0"/>
              <a:t>Typical Mini-I/O Applications </a:t>
            </a:r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sz="1800" dirty="0"/>
              <a:t>Field Installable Cable Connector </a:t>
            </a:r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sz="1800" dirty="0"/>
              <a:t>How to Apply the Mini-I/O FI Cable Connector</a:t>
            </a:r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490246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72D3E9-8949-49EA-8072-716B2E3F3F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de-DE" dirty="0"/>
            </a:br>
            <a:r>
              <a:rPr lang="de-DE" dirty="0"/>
              <a:t>How to Apply the Mini-I/O FI Cable Connector </a:t>
            </a:r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368E762F-4070-4F92-A7BA-1EFAF10B9711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63" r="1326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842986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FDE9023-781E-4795-AC79-DAFF445BD2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of the Mini-I/O Field Installable Connect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E80899D-D32C-47E5-9B3A-12312503DE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7653" y="1196859"/>
            <a:ext cx="6028563" cy="5228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1590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82410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0C417D-5C32-47B3-8BC3-954E09497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Mini-I/O FI variants (as part of the modular concep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F8CFC9-7E05-48BD-86A5-2EDEDBD328D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253384" y="1465544"/>
            <a:ext cx="3193057" cy="457200"/>
          </a:xfrm>
        </p:spPr>
        <p:txBody>
          <a:bodyPr/>
          <a:lstStyle/>
          <a:p>
            <a:r>
              <a:rPr lang="en-US" sz="2000" dirty="0"/>
              <a:t>135 degrees Cable Outl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5C93F0-99E7-49FF-9AA9-1E4F2A1452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597" y="1922744"/>
            <a:ext cx="2475986" cy="20908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9D5CC53-DCF4-4210-BAC6-174EBA95D1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5747" y="4164149"/>
            <a:ext cx="3262787" cy="20908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6CB9B99-8594-49CC-8842-FD43871086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211" y="2723632"/>
            <a:ext cx="2886829" cy="34906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1ACA0F0-5FB5-4851-86CB-5399D3A092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2723632"/>
            <a:ext cx="2692996" cy="2175241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561364A-BD4A-4AB8-A3D5-1F53E70EDD14}"/>
              </a:ext>
            </a:extLst>
          </p:cNvPr>
          <p:cNvSpPr txBox="1">
            <a:spLocks/>
          </p:cNvSpPr>
          <p:nvPr/>
        </p:nvSpPr>
        <p:spPr>
          <a:xfrm>
            <a:off x="7374568" y="1465544"/>
            <a:ext cx="3193057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6775" indent="-2222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90 degrees Cable Outlet</a:t>
            </a:r>
          </a:p>
        </p:txBody>
      </p:sp>
    </p:spTree>
    <p:extLst>
      <p:ext uri="{BB962C8B-B14F-4D97-AF65-F5344CB8AC3E}">
        <p14:creationId xmlns:p14="http://schemas.microsoft.com/office/powerpoint/2010/main" val="41486430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128B2C6-8FDF-4E34-AFC0-89DA2359B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Kit Industrial Mini-I/O: </a:t>
            </a:r>
            <a:br>
              <a:rPr lang="en-US" dirty="0"/>
            </a:br>
            <a:r>
              <a:rPr lang="en-US" dirty="0"/>
              <a:t>TE PN 2368065-1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9573EA-1C44-4763-A9DA-B62F53DA62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348" y="1673352"/>
            <a:ext cx="5661035" cy="45288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2610CC0-9F91-4677-A410-C9034CCE2F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6179" y="268724"/>
            <a:ext cx="3797969" cy="593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4504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A9892A-D34B-46CE-8DF4-A2660ABCB0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ntroduction</a:t>
            </a:r>
            <a:br>
              <a:rPr lang="de-DE" dirty="0"/>
            </a:br>
            <a:r>
              <a:rPr lang="de-DE" dirty="0"/>
              <a:t>to Mini-I/O</a:t>
            </a:r>
          </a:p>
        </p:txBody>
      </p:sp>
      <p:sp>
        <p:nvSpPr>
          <p:cNvPr id="9" name="Rechteck 16">
            <a:extLst>
              <a:ext uri="{FF2B5EF4-FFF2-40B4-BE49-F238E27FC236}">
                <a16:creationId xmlns:a16="http://schemas.microsoft.com/office/drawing/2014/main" id="{AECC8541-CF49-4E58-862A-5A20D10CA4A5}"/>
              </a:ext>
            </a:extLst>
          </p:cNvPr>
          <p:cNvSpPr/>
          <p:nvPr/>
        </p:nvSpPr>
        <p:spPr bwMode="gray">
          <a:xfrm>
            <a:off x="5158669" y="410187"/>
            <a:ext cx="6445956" cy="329374"/>
          </a:xfrm>
          <a:prstGeom prst="rect">
            <a:avLst/>
          </a:prstGeom>
          <a:solidFill>
            <a:srgbClr val="747678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108000" tIns="0" rIns="27000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>
                <a:srgbClr val="E98300"/>
              </a:buClr>
              <a:buSzPct val="75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ummary</a:t>
            </a: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Rechteck 15">
            <a:extLst>
              <a:ext uri="{FF2B5EF4-FFF2-40B4-BE49-F238E27FC236}">
                <a16:creationId xmlns:a16="http://schemas.microsoft.com/office/drawing/2014/main" id="{618D6945-A6F1-4D5D-9DFD-96FA853B3C69}"/>
              </a:ext>
            </a:extLst>
          </p:cNvPr>
          <p:cNvSpPr/>
          <p:nvPr/>
        </p:nvSpPr>
        <p:spPr bwMode="gray">
          <a:xfrm>
            <a:off x="5158667" y="739561"/>
            <a:ext cx="6445958" cy="1134959"/>
          </a:xfrm>
          <a:prstGeom prst="rect">
            <a:avLst/>
          </a:prstGeom>
          <a:pattFill prst="dkUpDiag">
            <a:fgClr>
              <a:srgbClr val="F2F2F2"/>
            </a:fgClr>
            <a:bgClr>
              <a:srgbClr val="FFFFFF"/>
            </a:bgClr>
          </a:pattFill>
          <a:ln w="6350" cap="flat" cmpd="sng" algn="ctr">
            <a:solidFill>
              <a:srgbClr val="E7E6E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35000" tIns="36000" rIns="270000" bIns="135000" rtlCol="0" anchor="t" anchorCtr="0"/>
          <a:lstStyle/>
          <a:p>
            <a:pPr marL="135731" marR="0" lvl="0" indent="-135731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747678"/>
                </a:solidFill>
                <a:effectLst/>
                <a:uLnTx/>
                <a:uFillTx/>
                <a:ea typeface="+mn-ea"/>
                <a:cs typeface="+mn-cs"/>
              </a:rPr>
              <a:t>Mini-I/O is a ruggedized, miniaturized connector family suited for Serial, Bus, Ethernet communication</a:t>
            </a:r>
            <a:endParaRPr lang="en-US" sz="1200" kern="0" noProof="1">
              <a:solidFill>
                <a:srgbClr val="747678"/>
              </a:solidFill>
            </a:endParaRPr>
          </a:p>
          <a:p>
            <a:pPr marL="135731" lvl="0" indent="-135731">
              <a:lnSpc>
                <a:spcPct val="110000"/>
              </a:lnSpc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Wide area of applications, incl. Cabinets, Distributed peripherals, Robotics, Machinery, Drive and Motor Applications</a:t>
            </a:r>
          </a:p>
          <a:p>
            <a:pPr marL="135731" marR="0" lvl="0" indent="-135731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1">
              <a:ln>
                <a:noFill/>
              </a:ln>
              <a:solidFill>
                <a:srgbClr val="74767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Rechteck 16">
            <a:extLst>
              <a:ext uri="{FF2B5EF4-FFF2-40B4-BE49-F238E27FC236}">
                <a16:creationId xmlns:a16="http://schemas.microsoft.com/office/drawing/2014/main" id="{551FC4DD-076F-4C73-A036-502EEC74B861}"/>
              </a:ext>
            </a:extLst>
          </p:cNvPr>
          <p:cNvSpPr/>
          <p:nvPr/>
        </p:nvSpPr>
        <p:spPr bwMode="gray">
          <a:xfrm>
            <a:off x="5158667" y="2212835"/>
            <a:ext cx="6445956" cy="329374"/>
          </a:xfrm>
          <a:prstGeom prst="rect">
            <a:avLst/>
          </a:prstGeom>
          <a:solidFill>
            <a:srgbClr val="747678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108000" tIns="0" rIns="27000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>
                <a:srgbClr val="E98300"/>
              </a:buClr>
              <a:buSzPct val="75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Technology</a:t>
            </a: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hteck 15">
            <a:extLst>
              <a:ext uri="{FF2B5EF4-FFF2-40B4-BE49-F238E27FC236}">
                <a16:creationId xmlns:a16="http://schemas.microsoft.com/office/drawing/2014/main" id="{218752B9-4935-471A-94FE-D86A62C5D7CA}"/>
              </a:ext>
            </a:extLst>
          </p:cNvPr>
          <p:cNvSpPr/>
          <p:nvPr/>
        </p:nvSpPr>
        <p:spPr bwMode="gray">
          <a:xfrm>
            <a:off x="5158665" y="2535810"/>
            <a:ext cx="6445958" cy="527049"/>
          </a:xfrm>
          <a:prstGeom prst="rect">
            <a:avLst/>
          </a:prstGeom>
          <a:pattFill prst="dkUpDiag">
            <a:fgClr>
              <a:srgbClr val="F2F2F2"/>
            </a:fgClr>
            <a:bgClr>
              <a:srgbClr val="FFFFFF"/>
            </a:bgClr>
          </a:pattFill>
          <a:ln w="6350" cap="flat" cmpd="sng" algn="ctr">
            <a:solidFill>
              <a:srgbClr val="E7E6E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35000" tIns="36000" rIns="270000" bIns="135000" rtlCol="0" anchor="t" anchorCtr="0"/>
          <a:lstStyle/>
          <a:p>
            <a:pPr marL="135731" marR="0" lvl="0" indent="-135731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747678"/>
                </a:solidFill>
                <a:effectLst/>
                <a:uLnTx/>
                <a:uFillTx/>
                <a:ea typeface="+mn-ea"/>
                <a:cs typeface="+mn-cs"/>
              </a:rPr>
              <a:t>IEEE 802.3 standards from 10 Mbps to 10 Gbps</a:t>
            </a:r>
          </a:p>
          <a:p>
            <a:pPr marL="135731" marR="0" lvl="0" indent="-135731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tabLst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Connector standard series IEC 61076-3-122</a:t>
            </a: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74767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15" name="Rechteck 16">
            <a:extLst>
              <a:ext uri="{FF2B5EF4-FFF2-40B4-BE49-F238E27FC236}">
                <a16:creationId xmlns:a16="http://schemas.microsoft.com/office/drawing/2014/main" id="{C1165496-836C-40F1-9477-E90B850E7B7F}"/>
              </a:ext>
            </a:extLst>
          </p:cNvPr>
          <p:cNvSpPr/>
          <p:nvPr/>
        </p:nvSpPr>
        <p:spPr bwMode="gray">
          <a:xfrm>
            <a:off x="5158667" y="3310427"/>
            <a:ext cx="6445956" cy="329374"/>
          </a:xfrm>
          <a:prstGeom prst="rect">
            <a:avLst/>
          </a:prstGeom>
          <a:solidFill>
            <a:srgbClr val="747678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108000" tIns="0" rIns="27000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>
                <a:srgbClr val="E98300"/>
              </a:buClr>
              <a:buSzPct val="75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Benefits</a:t>
            </a: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81D70E-83B7-40DC-B895-7E9AA0EC6251}"/>
              </a:ext>
            </a:extLst>
          </p:cNvPr>
          <p:cNvSpPr/>
          <p:nvPr/>
        </p:nvSpPr>
        <p:spPr bwMode="gray">
          <a:xfrm>
            <a:off x="5158665" y="3639802"/>
            <a:ext cx="6445958" cy="1142510"/>
          </a:xfrm>
          <a:prstGeom prst="rect">
            <a:avLst/>
          </a:prstGeom>
          <a:pattFill prst="dkUpDiag">
            <a:fgClr>
              <a:srgbClr val="F2F2F2"/>
            </a:fgClr>
            <a:bgClr>
              <a:srgbClr val="FFFFFF"/>
            </a:bgClr>
          </a:pattFill>
          <a:ln w="6350" cap="flat" cmpd="sng" algn="ctr">
            <a:solidFill>
              <a:srgbClr val="E7E6E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35000" tIns="36000" rIns="270000" bIns="135000" rtlCol="0" anchor="t" anchorCtr="0"/>
          <a:lstStyle/>
          <a:p>
            <a:pPr marL="135731" lvl="0" indent="-135731">
              <a:lnSpc>
                <a:spcPct val="110000"/>
              </a:lnSpc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Cost-effective, toolless, error free installation</a:t>
            </a:r>
          </a:p>
          <a:p>
            <a:pPr marL="135731" lvl="0" indent="-135731">
              <a:lnSpc>
                <a:spcPct val="110000"/>
              </a:lnSpc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Compact connector design (25% of the size of RJ45)</a:t>
            </a:r>
          </a:p>
          <a:p>
            <a:pPr marL="135731" lvl="0" indent="-135731">
              <a:lnSpc>
                <a:spcPct val="110000"/>
              </a:lnSpc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Integrated power (PoE)</a:t>
            </a:r>
          </a:p>
          <a:p>
            <a:pPr marL="135731" indent="-135731">
              <a:lnSpc>
                <a:spcPct val="110000"/>
              </a:lnSpc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Dual contact point contact technology guarantees good shock and vibration properties</a:t>
            </a:r>
          </a:p>
        </p:txBody>
      </p:sp>
      <p:sp>
        <p:nvSpPr>
          <p:cNvPr id="17" name="Rechteck 19">
            <a:extLst>
              <a:ext uri="{FF2B5EF4-FFF2-40B4-BE49-F238E27FC236}">
                <a16:creationId xmlns:a16="http://schemas.microsoft.com/office/drawing/2014/main" id="{254A40CE-44CC-475F-9558-AFD78839D254}"/>
              </a:ext>
            </a:extLst>
          </p:cNvPr>
          <p:cNvSpPr/>
          <p:nvPr/>
        </p:nvSpPr>
        <p:spPr bwMode="gray">
          <a:xfrm>
            <a:off x="5158667" y="5130955"/>
            <a:ext cx="6445958" cy="329374"/>
          </a:xfrm>
          <a:prstGeom prst="rect">
            <a:avLst/>
          </a:prstGeom>
          <a:solidFill>
            <a:srgbClr val="747678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108000" tIns="0" rIns="27000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>
                <a:srgbClr val="E98300"/>
              </a:buClr>
              <a:buSzPct val="75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Next steps: </a:t>
            </a: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Regular"/>
              <a:ea typeface="+mn-ea"/>
              <a:cs typeface="+mn-cs"/>
            </a:endParaRPr>
          </a:p>
        </p:txBody>
      </p:sp>
      <p:sp>
        <p:nvSpPr>
          <p:cNvPr id="18" name="Rechteck 15">
            <a:extLst>
              <a:ext uri="{FF2B5EF4-FFF2-40B4-BE49-F238E27FC236}">
                <a16:creationId xmlns:a16="http://schemas.microsoft.com/office/drawing/2014/main" id="{667A0DA3-2D77-43E8-A6BE-9DAE745E0FFC}"/>
              </a:ext>
            </a:extLst>
          </p:cNvPr>
          <p:cNvSpPr/>
          <p:nvPr/>
        </p:nvSpPr>
        <p:spPr bwMode="gray">
          <a:xfrm>
            <a:off x="5158667" y="5460329"/>
            <a:ext cx="6445958" cy="891795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35000" tIns="36000" rIns="270000" bIns="135000" rtlCol="0" anchor="t" anchorCtr="0"/>
          <a:lstStyle/>
          <a:p>
            <a:pPr marL="135731" marR="0" lvl="0" indent="-135731" fontAlgn="auto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tabLst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Drive adoption into the industrial market through standardization and user groups</a:t>
            </a:r>
          </a:p>
          <a:p>
            <a:pPr marL="135731" marR="0" lvl="0" indent="-135731" fontAlgn="auto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tabLst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Succesively introduce other Mini-I/O FI cable connecotrs for different wire and cable diameters</a:t>
            </a:r>
          </a:p>
          <a:p>
            <a:pPr marL="135731" marR="0" lvl="0" indent="-135731" fontAlgn="auto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66A1"/>
              </a:buClr>
              <a:buSzPct val="75000"/>
              <a:buFont typeface="Arial" pitchFamily="34" charset="0"/>
              <a:buChar char="•"/>
              <a:tabLst/>
              <a:defRPr/>
            </a:pPr>
            <a:r>
              <a:rPr lang="en-US" sz="1200" kern="0" noProof="1">
                <a:solidFill>
                  <a:srgbClr val="747678"/>
                </a:solidFill>
              </a:rPr>
              <a:t>Product launches in FY20/FY21</a:t>
            </a:r>
          </a:p>
        </p:txBody>
      </p:sp>
      <p:pic>
        <p:nvPicPr>
          <p:cNvPr id="14" name="Grafik 11">
            <a:extLst>
              <a:ext uri="{FF2B5EF4-FFF2-40B4-BE49-F238E27FC236}">
                <a16:creationId xmlns:a16="http://schemas.microsoft.com/office/drawing/2014/main" id="{307CCAAE-1DE1-43D2-B394-34FC7EB8DE4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3101" y="888545"/>
            <a:ext cx="2817372" cy="2476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6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4EFAD16-BE10-4B0D-963B-FD93CD4B1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-I/O Product Famil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32FDBA-7D9C-46E0-A5BC-D9DFA000B3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189" y="2872224"/>
            <a:ext cx="1463040" cy="11785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8E63245-65BA-42B3-9BF4-E1AD46F97C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2063" y="3920406"/>
            <a:ext cx="1959483" cy="11598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568532-6DCA-4D04-BDE7-1E29CC42F3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7136" y="2085857"/>
            <a:ext cx="2952750" cy="19621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DF2B00C-065D-4C59-A3BA-56ABA7BAFB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2274" y="2767589"/>
            <a:ext cx="1584198" cy="101297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C3C3C24-237B-4F94-87B7-C4FF4FE8AFCB}"/>
              </a:ext>
            </a:extLst>
          </p:cNvPr>
          <p:cNvSpPr txBox="1"/>
          <p:nvPr/>
        </p:nvSpPr>
        <p:spPr>
          <a:xfrm>
            <a:off x="514348" y="1680829"/>
            <a:ext cx="38770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/A and vertical Board Connectors</a:t>
            </a:r>
          </a:p>
          <a:p>
            <a:r>
              <a:rPr lang="en-US" dirty="0"/>
              <a:t>Type 1 and Type II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D630CA-C821-4A4D-A489-965EB31EB43E}"/>
              </a:ext>
            </a:extLst>
          </p:cNvPr>
          <p:cNvSpPr txBox="1"/>
          <p:nvPr/>
        </p:nvSpPr>
        <p:spPr>
          <a:xfrm>
            <a:off x="4136517" y="3274075"/>
            <a:ext cx="40395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lder and piercing cable connectors</a:t>
            </a:r>
          </a:p>
          <a:p>
            <a:r>
              <a:rPr lang="en-US" dirty="0"/>
              <a:t>Type 1 and Type II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83E610-3589-4FB3-B172-D59A6BDDEABF}"/>
              </a:ext>
            </a:extLst>
          </p:cNvPr>
          <p:cNvSpPr txBox="1"/>
          <p:nvPr/>
        </p:nvSpPr>
        <p:spPr>
          <a:xfrm>
            <a:off x="7872889" y="1116360"/>
            <a:ext cx="2952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ini-I/O Cord sets</a:t>
            </a:r>
          </a:p>
          <a:p>
            <a:r>
              <a:rPr lang="en-US" dirty="0"/>
              <a:t>Type 1 and Type II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A03F72-AD8F-4E4E-A842-045F649CFA23}"/>
              </a:ext>
            </a:extLst>
          </p:cNvPr>
          <p:cNvSpPr txBox="1"/>
          <p:nvPr/>
        </p:nvSpPr>
        <p:spPr>
          <a:xfrm>
            <a:off x="514348" y="4867321"/>
            <a:ext cx="387705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>
                <a:hlinkClick r:id="rId6"/>
              </a:rPr>
              <a:t>https://www.te.com/commerce/DocumentDelivery/DDEController?Action=srchrtrv&amp;DocNm=1-1773703-8_MINI_IO&amp;DocType=DS&amp;DocLang=EN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1FA436-0698-4271-AE38-0DBEA0BCE63E}"/>
              </a:ext>
            </a:extLst>
          </p:cNvPr>
          <p:cNvSpPr/>
          <p:nvPr/>
        </p:nvSpPr>
        <p:spPr>
          <a:xfrm>
            <a:off x="7229762" y="4867321"/>
            <a:ext cx="423900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https://www.te.com/commerce/DocumentDelivery/DDEController?Action=showdoc&amp;DocId=Data+Sheet%7F7-1773983-5%7F2006%7Fpdf%7FEnglish%7FENG_DS_7-1773983-5_2006.pdf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C582417-04B1-4073-8B13-9D2B5FF97EEF}"/>
              </a:ext>
            </a:extLst>
          </p:cNvPr>
          <p:cNvSpPr txBox="1"/>
          <p:nvPr/>
        </p:nvSpPr>
        <p:spPr>
          <a:xfrm>
            <a:off x="514348" y="4485258"/>
            <a:ext cx="3877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ink to product flyer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3234D4-0857-412C-8243-EF2F2BAD9D70}"/>
              </a:ext>
            </a:extLst>
          </p:cNvPr>
          <p:cNvSpPr txBox="1"/>
          <p:nvPr/>
        </p:nvSpPr>
        <p:spPr>
          <a:xfrm>
            <a:off x="7229762" y="4485258"/>
            <a:ext cx="3877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ink to virtual sample kit:</a:t>
            </a:r>
          </a:p>
        </p:txBody>
      </p:sp>
    </p:spTree>
    <p:extLst>
      <p:ext uri="{BB962C8B-B14F-4D97-AF65-F5344CB8AC3E}">
        <p14:creationId xmlns:p14="http://schemas.microsoft.com/office/powerpoint/2010/main" val="195479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76398-65C1-4457-BBB2-90DCB8B28F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ndustrial Mini-I/O Connector Advantages</a:t>
            </a:r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F202DB-DA28-4CA3-AA56-7958D445FFEA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0"/>
            <a:ext cx="7315200" cy="6857999"/>
          </a:xfrm>
        </p:spPr>
      </p:pic>
    </p:spTree>
    <p:extLst>
      <p:ext uri="{BB962C8B-B14F-4D97-AF65-F5344CB8AC3E}">
        <p14:creationId xmlns:p14="http://schemas.microsoft.com/office/powerpoint/2010/main" val="2962408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7292E29-C21F-4A41-BA4B-D06C32EE4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or Interface Type I and Type II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189F7C7-4D13-469D-8753-7F9FF8B9A85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4349" y="2091031"/>
            <a:ext cx="4962907" cy="4195469"/>
          </a:xfrm>
        </p:spPr>
        <p:txBody>
          <a:bodyPr/>
          <a:lstStyle/>
          <a:p>
            <a:r>
              <a:rPr lang="en-US" altLang="de-DE" dirty="0"/>
              <a:t>Industrial Mini I/O has 2 unique interfaces which may be used by customers to prevent mis-mating</a:t>
            </a:r>
          </a:p>
          <a:p>
            <a:r>
              <a:rPr lang="en-US" altLang="de-DE" dirty="0"/>
              <a:t>Key customer benefit is that using this interface physically prevents improper network hook up with other standard RJ45 networks </a:t>
            </a:r>
          </a:p>
          <a:p>
            <a:r>
              <a:rPr lang="en-US" altLang="de-DE" dirty="0"/>
              <a:t>Customers may also use this interface for physical identification of critical networks  (i.e. safety)</a:t>
            </a:r>
          </a:p>
          <a:p>
            <a:r>
              <a:rPr lang="en-US" altLang="de-DE" dirty="0"/>
              <a:t>Other coding variants are possible</a:t>
            </a:r>
          </a:p>
          <a:p>
            <a:endParaRPr lang="en-US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7B3AB52E-0F3C-4648-A4AA-A922E4F3A2FE}"/>
              </a:ext>
            </a:extLst>
          </p:cNvPr>
          <p:cNvSpPr txBox="1">
            <a:spLocks noChangeArrowheads="1"/>
          </p:cNvSpPr>
          <p:nvPr/>
        </p:nvSpPr>
        <p:spPr>
          <a:xfrm>
            <a:off x="1993901" y="1633538"/>
            <a:ext cx="4533900" cy="46910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de-DE" dirty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BD866366-3F5F-4E28-AF98-583F31E377F2}"/>
              </a:ext>
            </a:extLst>
          </p:cNvPr>
          <p:cNvGrpSpPr>
            <a:grpSpLocks/>
          </p:cNvGrpSpPr>
          <p:nvPr/>
        </p:nvGrpSpPr>
        <p:grpSpPr bwMode="auto">
          <a:xfrm>
            <a:off x="6527801" y="2019593"/>
            <a:ext cx="4105275" cy="3286125"/>
            <a:chOff x="3174" y="1842"/>
            <a:chExt cx="2586" cy="2070"/>
          </a:xfrm>
        </p:grpSpPr>
        <p:pic>
          <p:nvPicPr>
            <p:cNvPr id="9" name="Picture 5">
              <a:extLst>
                <a:ext uri="{FF2B5EF4-FFF2-40B4-BE49-F238E27FC236}">
                  <a16:creationId xmlns:a16="http://schemas.microsoft.com/office/drawing/2014/main" id="{6D69EC97-705B-4860-834B-9444CDE931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4" y="3021"/>
              <a:ext cx="1088" cy="8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" name="Picture 6">
              <a:extLst>
                <a:ext uri="{FF2B5EF4-FFF2-40B4-BE49-F238E27FC236}">
                  <a16:creationId xmlns:a16="http://schemas.microsoft.com/office/drawing/2014/main" id="{BB248D12-47AE-4DDD-B37B-99281D619D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" y="1842"/>
              <a:ext cx="1089" cy="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7">
              <a:extLst>
                <a:ext uri="{FF2B5EF4-FFF2-40B4-BE49-F238E27FC236}">
                  <a16:creationId xmlns:a16="http://schemas.microsoft.com/office/drawing/2014/main" id="{71D929E1-A148-4CFC-8510-FD47A51C5E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7" y="3067"/>
              <a:ext cx="952" cy="7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8">
              <a:extLst>
                <a:ext uri="{FF2B5EF4-FFF2-40B4-BE49-F238E27FC236}">
                  <a16:creationId xmlns:a16="http://schemas.microsoft.com/office/drawing/2014/main" id="{0E2214A3-334D-4A53-B259-2C96A1790B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7" y="1887"/>
              <a:ext cx="952" cy="7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Text Box 10">
              <a:extLst>
                <a:ext uri="{FF2B5EF4-FFF2-40B4-BE49-F238E27FC236}">
                  <a16:creationId xmlns:a16="http://schemas.microsoft.com/office/drawing/2014/main" id="{0CA2073C-00E1-4FC5-9203-B39FB9618F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4" y="3747"/>
              <a:ext cx="1089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FontTx/>
                <a:buNone/>
              </a:pPr>
              <a:r>
                <a:rPr lang="en-US" altLang="ja-JP" sz="11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D-SHAPE TYPE 1</a:t>
              </a:r>
            </a:p>
          </p:txBody>
        </p:sp>
        <p:sp>
          <p:nvSpPr>
            <p:cNvPr id="14" name="Text Box 11">
              <a:extLst>
                <a:ext uri="{FF2B5EF4-FFF2-40B4-BE49-F238E27FC236}">
                  <a16:creationId xmlns:a16="http://schemas.microsoft.com/office/drawing/2014/main" id="{353BAFAD-BD15-4201-86D3-390BB56C6A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71" y="3747"/>
              <a:ext cx="1089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50000"/>
                </a:spcBef>
                <a:buNone/>
              </a:pPr>
              <a:r>
                <a:rPr lang="en-US" altLang="ja-JP" sz="11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U-SHAPE TYPE 2</a:t>
              </a:r>
            </a:p>
          </p:txBody>
        </p:sp>
        <p:sp>
          <p:nvSpPr>
            <p:cNvPr id="15" name="AutoShape 12">
              <a:extLst>
                <a:ext uri="{FF2B5EF4-FFF2-40B4-BE49-F238E27FC236}">
                  <a16:creationId xmlns:a16="http://schemas.microsoft.com/office/drawing/2014/main" id="{91397ABA-AB76-4DDB-A022-A8DA12313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8" y="2613"/>
              <a:ext cx="136" cy="454"/>
            </a:xfrm>
            <a:prstGeom prst="upDownArrow">
              <a:avLst>
                <a:gd name="adj1" fmla="val 50000"/>
                <a:gd name="adj2" fmla="val 66765"/>
              </a:avLst>
            </a:prstGeom>
            <a:solidFill>
              <a:schemeClr val="bg2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endParaRPr lang="de-DE" altLang="de-DE" sz="2400"/>
            </a:p>
          </p:txBody>
        </p:sp>
        <p:sp>
          <p:nvSpPr>
            <p:cNvPr id="16" name="AutoShape 13">
              <a:extLst>
                <a:ext uri="{FF2B5EF4-FFF2-40B4-BE49-F238E27FC236}">
                  <a16:creationId xmlns:a16="http://schemas.microsoft.com/office/drawing/2014/main" id="{1BE78391-5250-408A-83E4-4F561854C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5" y="2613"/>
              <a:ext cx="136" cy="454"/>
            </a:xfrm>
            <a:prstGeom prst="upDownArrow">
              <a:avLst>
                <a:gd name="adj1" fmla="val 50000"/>
                <a:gd name="adj2" fmla="val 66765"/>
              </a:avLst>
            </a:prstGeom>
            <a:solidFill>
              <a:schemeClr val="bg2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endParaRPr lang="de-DE" altLang="de-DE" sz="2400"/>
            </a:p>
          </p:txBody>
        </p:sp>
        <p:sp>
          <p:nvSpPr>
            <p:cNvPr id="17" name="AutoShape 14">
              <a:extLst>
                <a:ext uri="{FF2B5EF4-FFF2-40B4-BE49-F238E27FC236}">
                  <a16:creationId xmlns:a16="http://schemas.microsoft.com/office/drawing/2014/main" id="{F4221D7E-EFF9-44D5-99B0-0460F76F329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2385764">
              <a:off x="4399" y="2386"/>
              <a:ext cx="136" cy="975"/>
            </a:xfrm>
            <a:prstGeom prst="upDownArrow">
              <a:avLst>
                <a:gd name="adj1" fmla="val 50000"/>
                <a:gd name="adj2" fmla="val 143382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endParaRPr lang="de-DE" altLang="de-DE" sz="2400"/>
            </a:p>
          </p:txBody>
        </p:sp>
        <p:sp>
          <p:nvSpPr>
            <p:cNvPr id="18" name="AutoShape 15">
              <a:extLst>
                <a:ext uri="{FF2B5EF4-FFF2-40B4-BE49-F238E27FC236}">
                  <a16:creationId xmlns:a16="http://schemas.microsoft.com/office/drawing/2014/main" id="{F783EE3C-A736-4884-8189-632EEEE5D9F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385764" flipH="1">
              <a:off x="4354" y="2386"/>
              <a:ext cx="136" cy="975"/>
            </a:xfrm>
            <a:prstGeom prst="upDownArrow">
              <a:avLst>
                <a:gd name="adj1" fmla="val 50000"/>
                <a:gd name="adj2" fmla="val 143382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endParaRPr lang="de-DE" altLang="de-DE" sz="2400"/>
            </a:p>
          </p:txBody>
        </p:sp>
        <p:sp>
          <p:nvSpPr>
            <p:cNvPr id="19" name="Text Box 16">
              <a:extLst>
                <a:ext uri="{FF2B5EF4-FFF2-40B4-BE49-F238E27FC236}">
                  <a16:creationId xmlns:a16="http://schemas.microsoft.com/office/drawing/2014/main" id="{84BA21CD-9C94-42FD-A6B2-F48FB87C18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3" y="2751"/>
              <a:ext cx="907" cy="174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50000"/>
                </a:spcBef>
                <a:buFontTx/>
                <a:buNone/>
              </a:pPr>
              <a:r>
                <a:rPr lang="en-US" altLang="ja-JP" sz="1200" dirty="0"/>
                <a:t>Can not mis-mate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5015E9B-79F5-44C2-9CB6-5066388F09DE}"/>
              </a:ext>
            </a:extLst>
          </p:cNvPr>
          <p:cNvSpPr txBox="1"/>
          <p:nvPr/>
        </p:nvSpPr>
        <p:spPr>
          <a:xfrm>
            <a:off x="6096000" y="3244925"/>
            <a:ext cx="10567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ype I:</a:t>
            </a:r>
          </a:p>
          <a:p>
            <a:r>
              <a:rPr lang="en-US" dirty="0"/>
              <a:t>D-shap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3CF6104-2539-4008-8906-1AE2C4B40DD2}"/>
              </a:ext>
            </a:extLst>
          </p:cNvPr>
          <p:cNvSpPr txBox="1"/>
          <p:nvPr/>
        </p:nvSpPr>
        <p:spPr>
          <a:xfrm>
            <a:off x="10306969" y="3272022"/>
            <a:ext cx="10567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ype II:</a:t>
            </a:r>
          </a:p>
          <a:p>
            <a:r>
              <a:rPr lang="en-US" dirty="0"/>
              <a:t>U-shape</a:t>
            </a:r>
          </a:p>
        </p:txBody>
      </p:sp>
    </p:spTree>
    <p:extLst>
      <p:ext uri="{BB962C8B-B14F-4D97-AF65-F5344CB8AC3E}">
        <p14:creationId xmlns:p14="http://schemas.microsoft.com/office/powerpoint/2010/main" val="1585863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29A7A-551B-4058-8663-736780517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e Interface Locking Syste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B924E6-114A-463E-968E-600535D3313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4349" y="1737360"/>
            <a:ext cx="4706875" cy="4549140"/>
          </a:xfrm>
        </p:spPr>
        <p:txBody>
          <a:bodyPr/>
          <a:lstStyle/>
          <a:p>
            <a:r>
              <a:rPr lang="en-US" altLang="de-DE" dirty="0"/>
              <a:t>Accidental unplugging of a network connection due to shock, vibration, pulling on cords, etc..  Causes expensive down time in an industrial environment</a:t>
            </a:r>
          </a:p>
          <a:p>
            <a:endParaRPr lang="en-US" altLang="de-DE" dirty="0"/>
          </a:p>
          <a:p>
            <a:endParaRPr lang="en-US" altLang="de-DE" dirty="0"/>
          </a:p>
          <a:p>
            <a:r>
              <a:rPr lang="en-US" altLang="de-DE" dirty="0"/>
              <a:t>Industrial Mini I/O’s unique locking system has a pull out force greater than 100N</a:t>
            </a:r>
          </a:p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78D5FA-A10C-4E50-A07D-D57250D6F612}"/>
              </a:ext>
            </a:extLst>
          </p:cNvPr>
          <p:cNvGrpSpPr>
            <a:grpSpLocks/>
          </p:cNvGrpSpPr>
          <p:nvPr/>
        </p:nvGrpSpPr>
        <p:grpSpPr bwMode="auto">
          <a:xfrm>
            <a:off x="5699126" y="2169144"/>
            <a:ext cx="5108575" cy="3321051"/>
            <a:chOff x="2290" y="1842"/>
            <a:chExt cx="3218" cy="209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146A199-BF57-47AE-A4D2-64CBACF2FD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6" y="1842"/>
              <a:ext cx="2178" cy="1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Text Box 6">
              <a:extLst>
                <a:ext uri="{FF2B5EF4-FFF2-40B4-BE49-F238E27FC236}">
                  <a16:creationId xmlns:a16="http://schemas.microsoft.com/office/drawing/2014/main" id="{5FC3B960-9DB2-45BF-BD53-D943F9E2B6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04" y="3566"/>
              <a:ext cx="904" cy="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50000"/>
                </a:spcBef>
                <a:buNone/>
              </a:pPr>
              <a:r>
                <a:rPr lang="en-US" altLang="ja-JP" sz="1600" dirty="0">
                  <a:latin typeface="+mn-lt"/>
                  <a:ea typeface="+mn-ea"/>
                  <a:cs typeface="+mn-cs"/>
                </a:rPr>
                <a:t>Header lock leaf </a:t>
              </a:r>
              <a:endParaRPr lang="ja-JP" altLang="en-US" sz="160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Text Box 7">
              <a:extLst>
                <a:ext uri="{FF2B5EF4-FFF2-40B4-BE49-F238E27FC236}">
                  <a16:creationId xmlns:a16="http://schemas.microsoft.com/office/drawing/2014/main" id="{8A3FD260-6A6D-45C7-9050-A262612F305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90" y="3067"/>
              <a:ext cx="1179" cy="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50000"/>
                </a:spcBef>
                <a:buNone/>
              </a:pPr>
              <a:r>
                <a:rPr lang="en-US" altLang="ja-JP" sz="1600" dirty="0">
                  <a:latin typeface="+mn-lt"/>
                  <a:ea typeface="+mn-ea"/>
                  <a:cs typeface="+mn-cs"/>
                </a:rPr>
                <a:t>Plug lock projection</a:t>
              </a:r>
            </a:p>
          </p:txBody>
        </p:sp>
        <p:sp>
          <p:nvSpPr>
            <p:cNvPr id="9" name="Text Box 8">
              <a:extLst>
                <a:ext uri="{FF2B5EF4-FFF2-40B4-BE49-F238E27FC236}">
                  <a16:creationId xmlns:a16="http://schemas.microsoft.com/office/drawing/2014/main" id="{7CB5824B-F3B5-4DDE-81EE-BBEACBE668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67" y="1916"/>
              <a:ext cx="816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50000"/>
                </a:spcBef>
                <a:buFontTx/>
                <a:buNone/>
              </a:pPr>
              <a:r>
                <a:rPr lang="en-US" altLang="ja-JP" sz="1600" dirty="0">
                  <a:latin typeface="+mn-lt"/>
                  <a:ea typeface="+mn-ea"/>
                  <a:cs typeface="+mn-cs"/>
                </a:rPr>
                <a:t>Lock ejector</a:t>
              </a:r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8E7D945E-D43F-4B83-B878-F34E9A0E3B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105" y="2976"/>
              <a:ext cx="680" cy="5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F0155F74-7D43-44EC-8E2C-889A5CDF9D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25" y="2523"/>
              <a:ext cx="49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9956B4A8-5CE0-4FAB-817A-24E077D162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25" y="2523"/>
              <a:ext cx="0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34A7A51D-D677-4269-A691-42F07914EE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4" y="2069"/>
              <a:ext cx="317" cy="136"/>
            </a:xfrm>
            <a:prstGeom prst="line">
              <a:avLst/>
            </a:prstGeom>
            <a:noFill/>
            <a:ln w="9525">
              <a:solidFill>
                <a:schemeClr val="folHlink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510863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1CE92-0C76-43CF-9D06-426F17CAC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CB Header Designed for Board Strength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346852-3FB1-4B92-BD3C-C7F2147629E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4349" y="1664208"/>
            <a:ext cx="5319523" cy="4622292"/>
          </a:xfrm>
        </p:spPr>
        <p:txBody>
          <a:bodyPr/>
          <a:lstStyle/>
          <a:p>
            <a:r>
              <a:rPr lang="en-US" altLang="de-DE" dirty="0"/>
              <a:t>The other part to secure a lasting connection is proper board retention</a:t>
            </a:r>
          </a:p>
          <a:p>
            <a:endParaRPr lang="en-US" altLang="de-DE" dirty="0"/>
          </a:p>
          <a:p>
            <a:r>
              <a:rPr lang="en-US" altLang="de-DE" dirty="0"/>
              <a:t>This header design has 2 features to enable required retention strength</a:t>
            </a:r>
          </a:p>
          <a:p>
            <a:pPr marL="0" lvl="1" indent="0">
              <a:buNone/>
            </a:pPr>
            <a:r>
              <a:rPr lang="en-US" altLang="de-DE" sz="1600" dirty="0"/>
              <a:t>Solder pads at 5 points</a:t>
            </a:r>
          </a:p>
          <a:p>
            <a:pPr marL="0" lvl="1" indent="0">
              <a:buNone/>
            </a:pPr>
            <a:r>
              <a:rPr lang="en-US" altLang="de-DE" sz="1600" dirty="0"/>
              <a:t>3 pegs with through hole anchor</a:t>
            </a:r>
          </a:p>
          <a:p>
            <a:pPr marL="0" lvl="1" indent="0">
              <a:buNone/>
            </a:pPr>
            <a:endParaRPr lang="en-US" altLang="de-DE" sz="1600" dirty="0"/>
          </a:p>
          <a:p>
            <a:pPr marL="0" lvl="1" indent="0">
              <a:buNone/>
            </a:pPr>
            <a:r>
              <a:rPr lang="en-US" altLang="de-DE" sz="1600" dirty="0"/>
              <a:t>Plastics are LCP based, improving co-planarity, supporting reflow soldering and giving it a MSL1 </a:t>
            </a:r>
          </a:p>
          <a:p>
            <a:pPr marL="0" lvl="1" indent="0">
              <a:buNone/>
            </a:pPr>
            <a:endParaRPr lang="en-US" altLang="de-DE" sz="1600" dirty="0"/>
          </a:p>
          <a:p>
            <a:pPr marL="0" lvl="1" indent="0">
              <a:buNone/>
            </a:pPr>
            <a:endParaRPr lang="en-US" altLang="de-DE" sz="1600" dirty="0"/>
          </a:p>
          <a:p>
            <a:pPr marL="0" lvl="1" indent="0">
              <a:buNone/>
            </a:pPr>
            <a:endParaRPr lang="en-US" altLang="de-DE" sz="1600" dirty="0"/>
          </a:p>
          <a:p>
            <a:pPr marL="0" lvl="1" indent="0">
              <a:buNone/>
            </a:pPr>
            <a:endParaRPr lang="en-US" altLang="de-DE" sz="1600" dirty="0"/>
          </a:p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6ABFB8-D3AB-428B-8B92-13C7891F2358}"/>
              </a:ext>
            </a:extLst>
          </p:cNvPr>
          <p:cNvGrpSpPr>
            <a:grpSpLocks/>
          </p:cNvGrpSpPr>
          <p:nvPr/>
        </p:nvGrpSpPr>
        <p:grpSpPr bwMode="auto">
          <a:xfrm>
            <a:off x="6546914" y="1188265"/>
            <a:ext cx="2806700" cy="2901950"/>
            <a:chOff x="2971" y="1162"/>
            <a:chExt cx="2267" cy="238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418C290-CEF7-41E7-B4E5-A82106CF64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7" y="1162"/>
              <a:ext cx="2131" cy="18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Line 6">
              <a:extLst>
                <a:ext uri="{FF2B5EF4-FFF2-40B4-BE49-F238E27FC236}">
                  <a16:creationId xmlns:a16="http://schemas.microsoft.com/office/drawing/2014/main" id="{55DAFAA7-BB0C-4968-A107-32C1488B08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3515" y="2478"/>
              <a:ext cx="1452" cy="77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" name="Line 7">
              <a:extLst>
                <a:ext uri="{FF2B5EF4-FFF2-40B4-BE49-F238E27FC236}">
                  <a16:creationId xmlns:a16="http://schemas.microsoft.com/office/drawing/2014/main" id="{DC820BA8-26E9-4437-9809-5E8DCE3046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3833" y="2251"/>
              <a:ext cx="1134" cy="99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BF25B3C6-A667-45AC-A4D3-82471E86B6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740" y="2568"/>
              <a:ext cx="227" cy="68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E4FA6B65-F140-4B72-B39D-623D09B0FD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513" y="2750"/>
              <a:ext cx="454" cy="49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F57918C4-8C36-4084-B667-1EBFF528EB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377" y="2296"/>
              <a:ext cx="590" cy="95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5EA368-CACD-4109-BE78-71CC1988CAD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4923" y="3202"/>
              <a:ext cx="260" cy="3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r>
                <a:rPr lang="ja-JP" altLang="en-US" sz="1800" b="1" dirty="0"/>
                <a:t>①</a:t>
              </a:r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157A233D-37CE-46D5-8DF1-D2CEE254D7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88" y="2659"/>
              <a:ext cx="91" cy="590"/>
            </a:xfrm>
            <a:prstGeom prst="line">
              <a:avLst/>
            </a:prstGeom>
            <a:noFill/>
            <a:ln w="9525">
              <a:solidFill>
                <a:schemeClr val="folHlink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Line 13">
              <a:extLst>
                <a:ext uri="{FF2B5EF4-FFF2-40B4-BE49-F238E27FC236}">
                  <a16:creationId xmlns:a16="http://schemas.microsoft.com/office/drawing/2014/main" id="{BFEF6378-51D9-4FE7-A503-A7BE7CD234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88" y="2976"/>
              <a:ext cx="1044" cy="273"/>
            </a:xfrm>
            <a:prstGeom prst="line">
              <a:avLst/>
            </a:prstGeom>
            <a:noFill/>
            <a:ln w="9525">
              <a:solidFill>
                <a:schemeClr val="folHlink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Line 14">
              <a:extLst>
                <a:ext uri="{FF2B5EF4-FFF2-40B4-BE49-F238E27FC236}">
                  <a16:creationId xmlns:a16="http://schemas.microsoft.com/office/drawing/2014/main" id="{151A835B-AFAB-4E4B-86BD-611635555D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88" y="2478"/>
              <a:ext cx="998" cy="771"/>
            </a:xfrm>
            <a:prstGeom prst="line">
              <a:avLst/>
            </a:prstGeom>
            <a:noFill/>
            <a:ln w="9525">
              <a:solidFill>
                <a:schemeClr val="folHlink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Text Box 15">
              <a:extLst>
                <a:ext uri="{FF2B5EF4-FFF2-40B4-BE49-F238E27FC236}">
                  <a16:creationId xmlns:a16="http://schemas.microsoft.com/office/drawing/2014/main" id="{6A4852BA-2C79-47E4-99B4-0FE58F2882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71" y="3249"/>
              <a:ext cx="272" cy="3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50000"/>
                </a:spcBef>
                <a:buFontTx/>
                <a:buNone/>
              </a:pPr>
              <a:r>
                <a:rPr lang="en-US" altLang="ja-JP" sz="1800" b="1" dirty="0"/>
                <a:t>②</a:t>
              </a:r>
            </a:p>
          </p:txBody>
        </p:sp>
      </p:grpSp>
      <p:sp>
        <p:nvSpPr>
          <p:cNvPr id="17" name="Text Box 16">
            <a:extLst>
              <a:ext uri="{FF2B5EF4-FFF2-40B4-BE49-F238E27FC236}">
                <a16:creationId xmlns:a16="http://schemas.microsoft.com/office/drawing/2014/main" id="{72C14C2A-6F08-4B70-95E6-F3ECC2C2EE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46914" y="4264291"/>
            <a:ext cx="5130246" cy="218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lnSpc>
                <a:spcPts val="3000"/>
              </a:lnSpc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lnSpc>
                <a:spcPts val="2800"/>
              </a:lnSpc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lnSpc>
                <a:spcPts val="2700"/>
              </a:lnSpc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>
              <a:lnSpc>
                <a:spcPts val="2600"/>
              </a:lnSpc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69963">
              <a:lnSpc>
                <a:spcPts val="2600"/>
              </a:lnSpc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69963" eaLnBrk="0" fontAlgn="base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har char="•"/>
              <a:defRPr sz="1400" 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ja-JP" altLang="en-US" sz="1600" dirty="0">
                <a:latin typeface="+mn-lt"/>
                <a:ea typeface="+mn-ea"/>
                <a:cs typeface="+mn-cs"/>
              </a:rPr>
              <a:t>① </a:t>
            </a:r>
            <a:r>
              <a:rPr lang="en-US" altLang="ja-JP" sz="1600" dirty="0">
                <a:latin typeface="+mn-lt"/>
                <a:ea typeface="+mn-ea"/>
                <a:cs typeface="+mn-cs"/>
              </a:rPr>
              <a:t>Solder pad at 5 points</a:t>
            </a:r>
          </a:p>
          <a:p>
            <a:pPr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ja-JP" altLang="en-US" sz="1600" dirty="0">
                <a:latin typeface="+mn-lt"/>
                <a:ea typeface="+mn-ea"/>
                <a:cs typeface="+mn-cs"/>
              </a:rPr>
              <a:t>② </a:t>
            </a:r>
            <a:r>
              <a:rPr lang="en-US" altLang="ja-JP" sz="1600" dirty="0">
                <a:latin typeface="+mn-lt"/>
                <a:ea typeface="+mn-ea"/>
                <a:cs typeface="+mn-cs"/>
              </a:rPr>
              <a:t>Peg has through hole anchor (3/5) </a:t>
            </a:r>
          </a:p>
          <a:p>
            <a:pPr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endParaRPr lang="en-US" altLang="ja-JP" sz="1600" dirty="0">
              <a:latin typeface="+mn-lt"/>
              <a:ea typeface="+mn-ea"/>
              <a:cs typeface="+mn-cs"/>
            </a:endParaRPr>
          </a:p>
          <a:p>
            <a:pPr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en-US" altLang="ja-JP" sz="1600" dirty="0">
                <a:latin typeface="+mn-lt"/>
                <a:ea typeface="+mn-ea"/>
                <a:cs typeface="+mn-cs"/>
              </a:rPr>
              <a:t>Solder pads are used to fix the SMT connector to a PCB.  Generally this is done at 2 points. Industrial Mini-I/O has 5 points enhancing the retention force and preventing connector tilt.</a:t>
            </a:r>
            <a:endParaRPr lang="en-US" altLang="de-DE" sz="16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725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2A14C-BB6D-4180-A5A9-B7380C9517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-I/O Contact System Designed for Reliabil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62B396-1D46-4618-9608-FCAE8BD29B0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4349" y="1783080"/>
            <a:ext cx="4559303" cy="4503420"/>
          </a:xfrm>
        </p:spPr>
        <p:txBody>
          <a:bodyPr/>
          <a:lstStyle/>
          <a:p>
            <a:r>
              <a:rPr lang="en-US" altLang="de-DE" dirty="0"/>
              <a:t>Known as the “Fighting Snake Principle”</a:t>
            </a:r>
          </a:p>
          <a:p>
            <a:endParaRPr lang="en-US" altLang="de-DE" dirty="0"/>
          </a:p>
          <a:p>
            <a:r>
              <a:rPr lang="en-US" altLang="de-DE" dirty="0"/>
              <a:t>Multiple points of contact reduce contact failures</a:t>
            </a:r>
          </a:p>
          <a:p>
            <a:endParaRPr lang="en-US" altLang="de-DE" dirty="0"/>
          </a:p>
          <a:p>
            <a:r>
              <a:rPr lang="en-US" altLang="de-DE" dirty="0"/>
              <a:t>Au plated products improve conductivity and contact lifespan</a:t>
            </a:r>
          </a:p>
          <a:p>
            <a:endParaRPr lang="en-US" altLang="de-DE" dirty="0"/>
          </a:p>
          <a:p>
            <a:r>
              <a:rPr lang="en-US" altLang="de-DE" dirty="0"/>
              <a:t>Overall design = Improved Reliability for Customer Networks</a:t>
            </a:r>
          </a:p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DF0371-E877-4E49-A1E1-CB2D9EB36933}"/>
              </a:ext>
            </a:extLst>
          </p:cNvPr>
          <p:cNvGrpSpPr>
            <a:grpSpLocks/>
          </p:cNvGrpSpPr>
          <p:nvPr/>
        </p:nvGrpSpPr>
        <p:grpSpPr bwMode="auto">
          <a:xfrm>
            <a:off x="5591050" y="1444789"/>
            <a:ext cx="5829301" cy="3213099"/>
            <a:chOff x="2320" y="515"/>
            <a:chExt cx="3672" cy="2024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6DC7A63-8763-4295-BFAF-19CA04056F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572" y="1253"/>
              <a:ext cx="1916" cy="12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Text Box 6">
              <a:extLst>
                <a:ext uri="{FF2B5EF4-FFF2-40B4-BE49-F238E27FC236}">
                  <a16:creationId xmlns:a16="http://schemas.microsoft.com/office/drawing/2014/main" id="{AFF24439-00E4-42B2-85CC-AB0E858E78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62" y="844"/>
              <a:ext cx="1330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50000"/>
                </a:spcBef>
                <a:buNone/>
              </a:pPr>
              <a:r>
                <a:rPr lang="en-US" altLang="ja-JP" sz="1600" dirty="0">
                  <a:latin typeface="+mn-lt"/>
                  <a:ea typeface="+mn-ea"/>
                  <a:cs typeface="+mn-cs"/>
                </a:rPr>
                <a:t>Cable Side Contact</a:t>
              </a:r>
            </a:p>
          </p:txBody>
        </p:sp>
        <p:sp>
          <p:nvSpPr>
            <p:cNvPr id="8" name="Text Box 7">
              <a:extLst>
                <a:ext uri="{FF2B5EF4-FFF2-40B4-BE49-F238E27FC236}">
                  <a16:creationId xmlns:a16="http://schemas.microsoft.com/office/drawing/2014/main" id="{F30083F0-15E9-445C-9AB4-4E9D16CD4E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20" y="1978"/>
              <a:ext cx="1168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50000"/>
                </a:spcBef>
                <a:buFontTx/>
                <a:buNone/>
              </a:pPr>
              <a:r>
                <a:rPr lang="en-US" altLang="ja-JP" sz="1600" dirty="0">
                  <a:latin typeface="+mn-lt"/>
                  <a:ea typeface="+mn-ea"/>
                  <a:cs typeface="+mn-cs"/>
                </a:rPr>
                <a:t>PCB Side Contact </a:t>
              </a:r>
            </a:p>
          </p:txBody>
        </p:sp>
        <p:sp>
          <p:nvSpPr>
            <p:cNvPr id="9" name="Text Box 8">
              <a:extLst>
                <a:ext uri="{FF2B5EF4-FFF2-40B4-BE49-F238E27FC236}">
                  <a16:creationId xmlns:a16="http://schemas.microsoft.com/office/drawing/2014/main" id="{A0C444D7-A83F-487C-B7EE-E0FF5C972F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28" y="515"/>
              <a:ext cx="1860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buFontTx/>
                <a:buNone/>
              </a:pPr>
              <a:r>
                <a:rPr lang="en-US" altLang="ja-JP" sz="1800" b="1" dirty="0">
                  <a:latin typeface="+mn-lt"/>
                  <a:ea typeface="+mn-ea"/>
                  <a:cs typeface="+mn-cs"/>
                </a:rPr>
                <a:t>Contact Cross Section</a:t>
              </a:r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C72B8A8D-9A34-482F-9399-FB19953E2C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20" y="1026"/>
              <a:ext cx="234" cy="635"/>
            </a:xfrm>
            <a:prstGeom prst="line">
              <a:avLst/>
            </a:prstGeom>
            <a:noFill/>
            <a:ln w="19050">
              <a:solidFill>
                <a:schemeClr val="bg2">
                  <a:lumMod val="60000"/>
                  <a:lumOff val="40000"/>
                </a:schemeClr>
              </a:solidFill>
              <a:round/>
              <a:headEnd/>
              <a:tailEnd type="oval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CCF27643-48B5-4AFF-8AB9-EC720CFEF4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35" y="1026"/>
              <a:ext cx="654" cy="635"/>
            </a:xfrm>
            <a:prstGeom prst="line">
              <a:avLst/>
            </a:prstGeom>
            <a:noFill/>
            <a:ln w="19050">
              <a:solidFill>
                <a:schemeClr val="bg2">
                  <a:lumMod val="60000"/>
                  <a:lumOff val="40000"/>
                </a:schemeClr>
              </a:solidFill>
              <a:round/>
              <a:headEnd/>
              <a:tailEnd type="oval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A4FB7F22-24C5-4F95-9353-137AFE869A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348" y="1706"/>
              <a:ext cx="280" cy="27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51B904C7-9D33-40E7-A0BE-4E9781A614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6" y="1071"/>
              <a:ext cx="0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Text Box 13">
              <a:extLst>
                <a:ext uri="{FF2B5EF4-FFF2-40B4-BE49-F238E27FC236}">
                  <a16:creationId xmlns:a16="http://schemas.microsoft.com/office/drawing/2014/main" id="{7F793735-2222-4621-914B-9EAA2470D0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15" y="829"/>
              <a:ext cx="1168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lnSpc>
                  <a:spcPts val="3000"/>
                </a:lnSpc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 marL="742950" indent="-285750">
                <a:lnSpc>
                  <a:spcPts val="2800"/>
                </a:lnSpc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2pPr>
              <a:lvl3pPr marL="1143000" indent="-228600">
                <a:lnSpc>
                  <a:spcPts val="2700"/>
                </a:lnSpc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3pPr>
              <a:lvl4pPr marL="1600200" indent="-228600">
                <a:lnSpc>
                  <a:spcPts val="2600"/>
                </a:lnSpc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defTabSz="969963">
                <a:lnSpc>
                  <a:spcPts val="2600"/>
                </a:lnSpc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defTabSz="969963" eaLnBrk="0" fontAlgn="base" hangingPunct="0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har char="•"/>
                <a:defRPr sz="1400" 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50000"/>
                </a:spcBef>
                <a:buNone/>
              </a:pPr>
              <a:r>
                <a:rPr lang="en-US" altLang="ja-JP" sz="1600" dirty="0">
                  <a:latin typeface="+mn-lt"/>
                  <a:ea typeface="+mn-ea"/>
                  <a:cs typeface="+mn-cs"/>
                </a:rPr>
                <a:t>2 points of conta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6359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 PowerPoint 16:9">
  <a:themeElements>
    <a:clrScheme name="New">
      <a:dk1>
        <a:srgbClr val="666666"/>
      </a:dk1>
      <a:lt1>
        <a:srgbClr val="FFFFFF"/>
      </a:lt1>
      <a:dk2>
        <a:srgbClr val="FFFFFF"/>
      </a:dk2>
      <a:lt2>
        <a:srgbClr val="E98300"/>
      </a:lt2>
      <a:accent1>
        <a:srgbClr val="E98300"/>
      </a:accent1>
      <a:accent2>
        <a:srgbClr val="666666"/>
      </a:accent2>
      <a:accent3>
        <a:srgbClr val="0066A1"/>
      </a:accent3>
      <a:accent4>
        <a:srgbClr val="3CB7E3"/>
      </a:accent4>
      <a:accent5>
        <a:srgbClr val="FCD350"/>
      </a:accent5>
      <a:accent6>
        <a:srgbClr val="CD202C"/>
      </a:accent6>
      <a:hlink>
        <a:srgbClr val="0066A1"/>
      </a:hlink>
      <a:folHlink>
        <a:srgbClr val="0066A1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and-PowerPoint-Template-v6" id="{0764FFE4-4A91-4246-B57E-753D8F5A7885}" vid="{CC79319D-EA49-7949-BEC8-7F2CBF790CC6}"/>
    </a:ext>
  </a:extLst>
</a:theme>
</file>

<file path=ppt/theme/theme2.xml><?xml version="1.0" encoding="utf-8"?>
<a:theme xmlns:a="http://schemas.openxmlformats.org/drawingml/2006/main" name="Default Theme">
  <a:themeElements>
    <a:clrScheme name="TE Colors">
      <a:dk1>
        <a:srgbClr val="E98300"/>
      </a:dk1>
      <a:lt1>
        <a:srgbClr val="FFFFFF"/>
      </a:lt1>
      <a:dk2>
        <a:srgbClr val="747678"/>
      </a:dk2>
      <a:lt2>
        <a:srgbClr val="E7E6E6"/>
      </a:lt2>
      <a:accent1>
        <a:srgbClr val="0066A1"/>
      </a:accent1>
      <a:accent2>
        <a:srgbClr val="3DB7E4"/>
      </a:accent2>
      <a:accent3>
        <a:srgbClr val="FCD450"/>
      </a:accent3>
      <a:accent4>
        <a:srgbClr val="CD202C"/>
      </a:accent4>
      <a:accent5>
        <a:srgbClr val="899F99"/>
      </a:accent5>
      <a:accent6>
        <a:srgbClr val="D6E342"/>
      </a:accent6>
      <a:hlink>
        <a:srgbClr val="0563C1"/>
      </a:hlink>
      <a:folHlink>
        <a:srgbClr val="954F72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_PPT_Template_4x3_2016" id="{B4859C9E-EB2D-1A4F-92A2-0DA464904392}" vid="{8082115A-1B00-CF43-BEF5-B4902D978CF6}"/>
    </a:ext>
  </a:extLst>
</a:theme>
</file>

<file path=ppt/theme/theme3.xml><?xml version="1.0" encoding="utf-8"?>
<a:theme xmlns:a="http://schemas.openxmlformats.org/drawingml/2006/main" name="SICK">
  <a:themeElements>
    <a:clrScheme name="SICK">
      <a:dk1>
        <a:sysClr val="windowText" lastClr="000000"/>
      </a:dk1>
      <a:lt1>
        <a:sysClr val="window" lastClr="FFFFFF"/>
      </a:lt1>
      <a:dk2>
        <a:srgbClr val="F39200"/>
      </a:dk2>
      <a:lt2>
        <a:srgbClr val="007CC1"/>
      </a:lt2>
      <a:accent1>
        <a:srgbClr val="42494C"/>
      </a:accent1>
      <a:accent2>
        <a:srgbClr val="737F85"/>
      </a:accent2>
      <a:accent3>
        <a:srgbClr val="A6B0BA"/>
      </a:accent3>
      <a:accent4>
        <a:srgbClr val="63B017"/>
      </a:accent4>
      <a:accent5>
        <a:srgbClr val="F5C413"/>
      </a:accent5>
      <a:accent6>
        <a:srgbClr val="EA0823"/>
      </a:accent6>
      <a:hlink>
        <a:srgbClr val="F39200"/>
      </a:hlink>
      <a:folHlink>
        <a:srgbClr val="F39200"/>
      </a:folHlink>
    </a:clrScheme>
    <a:fontScheme name="SICK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</a:ln>
      </a:spPr>
      <a:bodyPr lIns="72000" tIns="72000" rIns="72000" bIns="72000" rtlCol="0" anchor="ctr"/>
      <a:lstStyle>
        <a:defPPr algn="ctr">
          <a:defRPr sz="12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bg2"/>
          </a:buClr>
          <a:buFont typeface="Open Sans" panose="020B0606030504020204" pitchFamily="34" charset="0"/>
          <a:buChar char="›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CK_TEMPLATE_GESPERRT_14_EXP.potx" id="{60F50AFF-8546-4E49-A454-4B23DAD965DA}" vid="{D1ED68AE-9EA9-4FE2-BE25-0DD4C87C78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F3A59841307D443AE3E1C8B34DB03E7" ma:contentTypeVersion="13" ma:contentTypeDescription="Utwórz nowy dokument." ma:contentTypeScope="" ma:versionID="1d47232af6363ea5a85d6854eb67f3e5">
  <xsd:schema xmlns:xsd="http://www.w3.org/2001/XMLSchema" xmlns:xs="http://www.w3.org/2001/XMLSchema" xmlns:p="http://schemas.microsoft.com/office/2006/metadata/properties" xmlns:ns2="9b769950-d864-4259-86ee-47e977aaf1f0" xmlns:ns3="9ad9272b-7d98-422c-8190-973449fef055" targetNamespace="http://schemas.microsoft.com/office/2006/metadata/properties" ma:root="true" ma:fieldsID="9db69692418d8a9dfcc8be00f3664354" ns2:_="" ns3:_="">
    <xsd:import namespace="9b769950-d864-4259-86ee-47e977aaf1f0"/>
    <xsd:import namespace="9ad9272b-7d98-422c-8190-973449fef0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769950-d864-4259-86ee-47e977aaf1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d9272b-7d98-422c-8190-973449fef05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F051AF-FF80-4F3D-AB73-B9C84ED0E668}">
  <ds:schemaRefs>
    <ds:schemaRef ds:uri="http://schemas.microsoft.com/office/infopath/2007/PartnerControls"/>
    <ds:schemaRef ds:uri="http://purl.org/dc/dcmitype/"/>
    <ds:schemaRef ds:uri="http://purl.org/dc/terms/"/>
    <ds:schemaRef ds:uri="http://schemas.microsoft.com/office/2006/documentManagement/types"/>
    <ds:schemaRef ds:uri="192ca909-6664-4b5e-8199-df31006bf170"/>
    <ds:schemaRef ds:uri="http://schemas.openxmlformats.org/package/2006/metadata/core-properties"/>
    <ds:schemaRef ds:uri="http://purl.org/dc/elements/1.1/"/>
    <ds:schemaRef ds:uri="http://www.w3.org/XML/1998/namespace"/>
    <ds:schemaRef ds:uri="32fb0149-d950-41d8-9797-3bd5b75e8b1b"/>
    <ds:schemaRef ds:uri="http://schemas.microsoft.com/sharepoint/v3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28B0CE40-0151-4F97-AABC-AD6EF768A4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3E70BAF-E586-4A0E-87C8-A4C6EA58829D}"/>
</file>

<file path=docProps/app.xml><?xml version="1.0" encoding="utf-8"?>
<Properties xmlns="http://schemas.openxmlformats.org/officeDocument/2006/extended-properties" xmlns:vt="http://schemas.openxmlformats.org/officeDocument/2006/docPropsVTypes">
  <Template>TE_PPT_Template_16x9_2020</Template>
  <TotalTime>1970</TotalTime>
  <Words>1050</Words>
  <Application>Microsoft Office PowerPoint</Application>
  <PresentationFormat>Widescreen</PresentationFormat>
  <Paragraphs>190</Paragraphs>
  <Slides>2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rial</vt:lpstr>
      <vt:lpstr>Calibri</vt:lpstr>
      <vt:lpstr>Courier New</vt:lpstr>
      <vt:lpstr>Lato Regular</vt:lpstr>
      <vt:lpstr>Open Sans</vt:lpstr>
      <vt:lpstr>Wingdings</vt:lpstr>
      <vt:lpstr>TE PowerPoint 16:9</vt:lpstr>
      <vt:lpstr>Default Theme</vt:lpstr>
      <vt:lpstr>SICK</vt:lpstr>
      <vt:lpstr>think-cell Folie</vt:lpstr>
      <vt:lpstr>Mini-I/O Field Installable Cable Connector </vt:lpstr>
      <vt:lpstr>Agenda</vt:lpstr>
      <vt:lpstr>Introduction to Mini-I/O</vt:lpstr>
      <vt:lpstr>Mini-I/O Product Family</vt:lpstr>
      <vt:lpstr>Industrial Mini-I/O Connector Advantages</vt:lpstr>
      <vt:lpstr>Connector Interface Type I and Type II</vt:lpstr>
      <vt:lpstr>Secure Interface Locking System</vt:lpstr>
      <vt:lpstr>PCB Header Designed for Board Strength</vt:lpstr>
      <vt:lpstr>Mini-I/O Contact System Designed for Reliability</vt:lpstr>
      <vt:lpstr>Other Mini-IO Advantages</vt:lpstr>
      <vt:lpstr>Industrial Mini-I/O Family </vt:lpstr>
      <vt:lpstr>Standardization &amp; Standards</vt:lpstr>
      <vt:lpstr>Mini-I/O Standard</vt:lpstr>
      <vt:lpstr>Typical Mini-I/O Applications</vt:lpstr>
      <vt:lpstr>CPS Applications &amp; Connectivity Requirements</vt:lpstr>
      <vt:lpstr>Mini-IO Application Areas &amp; Use Cases</vt:lpstr>
      <vt:lpstr>Field Installable Cable Connector</vt:lpstr>
      <vt:lpstr>Features, Advantages, Benefits</vt:lpstr>
      <vt:lpstr>Mini-I/O FI Part Numbers</vt:lpstr>
      <vt:lpstr> How to Apply the Mini-I/O FI Cable Connector </vt:lpstr>
      <vt:lpstr>Application of the Mini-I/O Field Installable Connector</vt:lpstr>
      <vt:lpstr>PowerPoint Presentation</vt:lpstr>
      <vt:lpstr>Other Mini-I/O FI variants (as part of the modular concept)</vt:lpstr>
      <vt:lpstr>Demo Kit Industrial Mini-I/O:  TE PN 2368065-1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Hilgner, Michael</dc:creator>
  <cp:keywords/>
  <dc:description/>
  <cp:lastModifiedBy>Kaszowska-Pichorz, Katarzyna</cp:lastModifiedBy>
  <cp:revision>83</cp:revision>
  <cp:lastPrinted>2020-07-20T10:59:31Z</cp:lastPrinted>
  <dcterms:created xsi:type="dcterms:W3CDTF">2020-04-27T11:06:52Z</dcterms:created>
  <dcterms:modified xsi:type="dcterms:W3CDTF">2021-10-18T13:37:16Z</dcterms:modified>
  <cp:category>2020 - Version 1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3A59841307D443AE3E1C8B34DB03E7</vt:lpwstr>
  </property>
</Properties>
</file>